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  <p:sldMasterId id="2147483671" r:id="rId5"/>
    <p:sldMasterId id="2147483837" r:id="rId6"/>
    <p:sldMasterId id="2147483863" r:id="rId7"/>
    <p:sldMasterId id="2147483883" r:id="rId8"/>
    <p:sldMasterId id="2147483912" r:id="rId9"/>
    <p:sldMasterId id="2147483941" r:id="rId10"/>
  </p:sldMasterIdLst>
  <p:notesMasterIdLst>
    <p:notesMasterId r:id="rId59"/>
  </p:notesMasterIdLst>
  <p:sldIdLst>
    <p:sldId id="256" r:id="rId11"/>
    <p:sldId id="1143" r:id="rId12"/>
    <p:sldId id="984" r:id="rId13"/>
    <p:sldId id="591" r:id="rId14"/>
    <p:sldId id="297" r:id="rId15"/>
    <p:sldId id="606" r:id="rId16"/>
    <p:sldId id="267" r:id="rId17"/>
    <p:sldId id="906" r:id="rId18"/>
    <p:sldId id="607" r:id="rId19"/>
    <p:sldId id="957" r:id="rId20"/>
    <p:sldId id="533" r:id="rId21"/>
    <p:sldId id="537" r:id="rId22"/>
    <p:sldId id="907" r:id="rId23"/>
    <p:sldId id="908" r:id="rId24"/>
    <p:sldId id="910" r:id="rId25"/>
    <p:sldId id="530" r:id="rId26"/>
    <p:sldId id="315" r:id="rId27"/>
    <p:sldId id="1074" r:id="rId28"/>
    <p:sldId id="1131" r:id="rId29"/>
    <p:sldId id="262" r:id="rId30"/>
    <p:sldId id="1040" r:id="rId31"/>
    <p:sldId id="1076" r:id="rId32"/>
    <p:sldId id="1088" r:id="rId33"/>
    <p:sldId id="268" r:id="rId34"/>
    <p:sldId id="1132" r:id="rId35"/>
    <p:sldId id="1089" r:id="rId36"/>
    <p:sldId id="1080" r:id="rId37"/>
    <p:sldId id="1081" r:id="rId38"/>
    <p:sldId id="919" r:id="rId39"/>
    <p:sldId id="920" r:id="rId40"/>
    <p:sldId id="917" r:id="rId41"/>
    <p:sldId id="271" r:id="rId42"/>
    <p:sldId id="272" r:id="rId43"/>
    <p:sldId id="274" r:id="rId44"/>
    <p:sldId id="608" r:id="rId45"/>
    <p:sldId id="303" r:id="rId46"/>
    <p:sldId id="304" r:id="rId47"/>
    <p:sldId id="1144" r:id="rId48"/>
    <p:sldId id="980" r:id="rId49"/>
    <p:sldId id="1068" r:id="rId50"/>
    <p:sldId id="1069" r:id="rId51"/>
    <p:sldId id="962" r:id="rId52"/>
    <p:sldId id="613" r:id="rId53"/>
    <p:sldId id="529" r:id="rId54"/>
    <p:sldId id="1128" r:id="rId55"/>
    <p:sldId id="960" r:id="rId56"/>
    <p:sldId id="913" r:id="rId57"/>
    <p:sldId id="993" r:id="rId58"/>
  </p:sldIdLst>
  <p:sldSz cx="12192000" cy="6858000"/>
  <p:notesSz cx="6858000" cy="9144000"/>
  <p:custDataLst>
    <p:tags r:id="rId6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86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4" pos="415" userDrawn="1">
          <p15:clr>
            <a:srgbClr val="A4A3A4"/>
          </p15:clr>
        </p15:guide>
        <p15:guide id="5" pos="7401" userDrawn="1">
          <p15:clr>
            <a:srgbClr val="A4A3A4"/>
          </p15:clr>
        </p15:guide>
        <p15:guide id="6" pos="195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son Yao" initials="SY" lastIdx="4" clrIdx="0"/>
  <p:cmAuthor id="2" name="Carol Chien" initials="CC" lastIdx="2" clrIdx="1"/>
  <p:cmAuthor id="3" name="Carol Laptop" initials="C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44B"/>
    <a:srgbClr val="FF0100"/>
    <a:srgbClr val="10609D"/>
    <a:srgbClr val="006633"/>
    <a:srgbClr val="F3F3F3"/>
    <a:srgbClr val="F6B9B9"/>
    <a:srgbClr val="4F81BD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3C47B5-72D5-49AD-BADB-5A4AF21CB818}" v="14" dt="2021-12-19T07:09:00.6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淺色樣式 1 - 輔色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淺色樣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深色樣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淺色樣式 3 - 輔色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淺色樣式 1 - 輔色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淺色樣式 1 - 輔色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淺色樣式 3 - 輔色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無樣式、表格格線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2838BEF-8BB2-4498-84A7-C5851F593DF1}" styleName="中等深淺樣式 4 - 輔色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012ECD-51FC-41F1-AA8D-1B2483CD663E}" styleName="淺色樣式 2 - 輔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淺色樣式 2 - 輔色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中等深淺樣式 1 - 輔色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70" autoAdjust="0"/>
    <p:restoredTop sz="94664" autoAdjust="0"/>
  </p:normalViewPr>
  <p:slideViewPr>
    <p:cSldViewPr snapToGrid="0" showGuides="1">
      <p:cViewPr varScale="1">
        <p:scale>
          <a:sx n="85" d="100"/>
          <a:sy n="85" d="100"/>
        </p:scale>
        <p:origin x="384" y="51"/>
      </p:cViewPr>
      <p:guideLst>
        <p:guide orient="horz" pos="686"/>
        <p:guide pos="3863"/>
        <p:guide pos="415"/>
        <p:guide pos="7401"/>
        <p:guide pos="1958"/>
      </p:guideLst>
    </p:cSldViewPr>
  </p:slideViewPr>
  <p:outlineViewPr>
    <p:cViewPr>
      <p:scale>
        <a:sx n="33" d="100"/>
        <a:sy n="33" d="100"/>
      </p:scale>
      <p:origin x="36" y="1122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63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66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61" Type="http://schemas.openxmlformats.org/officeDocument/2006/relationships/commentAuthors" Target="commentAuthors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notesMaster" Target="notesMasters/notesMaster1.xml"/><Relationship Id="rId67" Type="http://schemas.microsoft.com/office/2015/10/relationships/revisionInfo" Target="revisionInfo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tags" Target="tags/tag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9" Type="http://schemas.openxmlformats.org/officeDocument/2006/relationships/slide" Target="slides/slide2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瑄文 李" userId="8b7801f2b2d3b0de" providerId="LiveId" clId="{4E3C47B5-72D5-49AD-BADB-5A4AF21CB818}"/>
    <pc:docChg chg="undo custSel addSld delSld modSld sldOrd delMainMaster">
      <pc:chgData name="瑄文 李" userId="8b7801f2b2d3b0de" providerId="LiveId" clId="{4E3C47B5-72D5-49AD-BADB-5A4AF21CB818}" dt="2021-12-19T07:09:05.152" v="491" actId="20577"/>
      <pc:docMkLst>
        <pc:docMk/>
      </pc:docMkLst>
      <pc:sldChg chg="addSp modSp mod">
        <pc:chgData name="瑄文 李" userId="8b7801f2b2d3b0de" providerId="LiveId" clId="{4E3C47B5-72D5-49AD-BADB-5A4AF21CB818}" dt="2021-12-19T06:13:06.260" v="53" actId="122"/>
        <pc:sldMkLst>
          <pc:docMk/>
          <pc:sldMk cId="0" sldId="256"/>
        </pc:sldMkLst>
        <pc:spChg chg="mod">
          <ac:chgData name="瑄文 李" userId="8b7801f2b2d3b0de" providerId="LiveId" clId="{4E3C47B5-72D5-49AD-BADB-5A4AF21CB818}" dt="2021-12-19T06:13:06.260" v="53" actId="122"/>
          <ac:spMkLst>
            <pc:docMk/>
            <pc:sldMk cId="0" sldId="256"/>
            <ac:spMk id="94" creationId="{00000000-0000-0000-0000-000000000000}"/>
          </ac:spMkLst>
        </pc:spChg>
        <pc:picChg chg="add mod">
          <ac:chgData name="瑄文 李" userId="8b7801f2b2d3b0de" providerId="LiveId" clId="{4E3C47B5-72D5-49AD-BADB-5A4AF21CB818}" dt="2021-12-19T06:12:41.022" v="17" actId="1076"/>
          <ac:picMkLst>
            <pc:docMk/>
            <pc:sldMk cId="0" sldId="256"/>
            <ac:picMk id="13" creationId="{2B64A2F0-369B-4D3C-8913-4E3FF73AF8A8}"/>
          </ac:picMkLst>
        </pc:picChg>
      </pc:sldChg>
      <pc:sldChg chg="del">
        <pc:chgData name="瑄文 李" userId="8b7801f2b2d3b0de" providerId="LiveId" clId="{4E3C47B5-72D5-49AD-BADB-5A4AF21CB818}" dt="2021-12-19T06:39:28.836" v="379" actId="47"/>
        <pc:sldMkLst>
          <pc:docMk/>
          <pc:sldMk cId="2808238583" sldId="257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955386536" sldId="259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1095883263" sldId="260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2236464118" sldId="261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81587721" sldId="264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235882970" sldId="265"/>
        </pc:sldMkLst>
      </pc:sldChg>
      <pc:sldChg chg="del">
        <pc:chgData name="瑄文 李" userId="8b7801f2b2d3b0de" providerId="LiveId" clId="{4E3C47B5-72D5-49AD-BADB-5A4AF21CB818}" dt="2021-12-19T06:11:21.031" v="4" actId="47"/>
        <pc:sldMkLst>
          <pc:docMk/>
          <pc:sldMk cId="1725967666" sldId="293"/>
        </pc:sldMkLst>
      </pc:sldChg>
      <pc:sldChg chg="del">
        <pc:chgData name="瑄文 李" userId="8b7801f2b2d3b0de" providerId="LiveId" clId="{4E3C47B5-72D5-49AD-BADB-5A4AF21CB818}" dt="2021-12-19T06:11:21.031" v="4" actId="47"/>
        <pc:sldMkLst>
          <pc:docMk/>
          <pc:sldMk cId="32203479" sldId="472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3728045367" sldId="477"/>
        </pc:sldMkLst>
      </pc:sldChg>
      <pc:sldChg chg="del">
        <pc:chgData name="瑄文 李" userId="8b7801f2b2d3b0de" providerId="LiveId" clId="{4E3C47B5-72D5-49AD-BADB-5A4AF21CB818}" dt="2021-12-19T06:11:21.031" v="4" actId="47"/>
        <pc:sldMkLst>
          <pc:docMk/>
          <pc:sldMk cId="0" sldId="484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2330218890" sldId="528"/>
        </pc:sldMkLst>
      </pc:sldChg>
      <pc:sldChg chg="addSp modSp mod">
        <pc:chgData name="瑄文 李" userId="8b7801f2b2d3b0de" providerId="LiveId" clId="{4E3C47B5-72D5-49AD-BADB-5A4AF21CB818}" dt="2021-12-19T07:08:56.439" v="474" actId="1076"/>
        <pc:sldMkLst>
          <pc:docMk/>
          <pc:sldMk cId="1720188562" sldId="529"/>
        </pc:sldMkLst>
        <pc:spChg chg="add mod">
          <ac:chgData name="瑄文 李" userId="8b7801f2b2d3b0de" providerId="LiveId" clId="{4E3C47B5-72D5-49AD-BADB-5A4AF21CB818}" dt="2021-12-19T07:08:56.439" v="474" actId="1076"/>
          <ac:spMkLst>
            <pc:docMk/>
            <pc:sldMk cId="1720188562" sldId="529"/>
            <ac:spMk id="3" creationId="{D471ABA0-1A67-4AE5-8F10-412B8AB463E7}"/>
          </ac:spMkLst>
        </pc:spChg>
        <pc:spChg chg="mod">
          <ac:chgData name="瑄文 李" userId="8b7801f2b2d3b0de" providerId="LiveId" clId="{4E3C47B5-72D5-49AD-BADB-5A4AF21CB818}" dt="2021-12-19T07:05:53.636" v="422" actId="20577"/>
          <ac:spMkLst>
            <pc:docMk/>
            <pc:sldMk cId="1720188562" sldId="529"/>
            <ac:spMk id="10" creationId="{4387862F-D5CD-49F0-B7E6-B9628B6DBBEF}"/>
          </ac:spMkLst>
        </pc:spChg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2383830901" sldId="566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2559081682" sldId="570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1476188821" sldId="572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547889351" sldId="601"/>
        </pc:sldMkLst>
      </pc:sldChg>
      <pc:sldChg chg="delSp modSp mod">
        <pc:chgData name="瑄文 李" userId="8b7801f2b2d3b0de" providerId="LiveId" clId="{4E3C47B5-72D5-49AD-BADB-5A4AF21CB818}" dt="2021-12-19T06:35:30.233" v="367"/>
        <pc:sldMkLst>
          <pc:docMk/>
          <pc:sldMk cId="680522364" sldId="613"/>
        </pc:sldMkLst>
        <pc:spChg chg="mod">
          <ac:chgData name="瑄文 李" userId="8b7801f2b2d3b0de" providerId="LiveId" clId="{4E3C47B5-72D5-49AD-BADB-5A4AF21CB818}" dt="2021-12-19T06:35:25.622" v="364" actId="20577"/>
          <ac:spMkLst>
            <pc:docMk/>
            <pc:sldMk cId="680522364" sldId="613"/>
            <ac:spMk id="6" creationId="{FD41AA68-A57B-4A31-9D29-1CC323FEA935}"/>
          </ac:spMkLst>
        </pc:spChg>
        <pc:spChg chg="del mod">
          <ac:chgData name="瑄文 李" userId="8b7801f2b2d3b0de" providerId="LiveId" clId="{4E3C47B5-72D5-49AD-BADB-5A4AF21CB818}" dt="2021-12-19T06:35:30.233" v="367"/>
          <ac:spMkLst>
            <pc:docMk/>
            <pc:sldMk cId="680522364" sldId="613"/>
            <ac:spMk id="8" creationId="{EA2B36B3-96F9-4E27-B1EB-90264FB56B68}"/>
          </ac:spMkLst>
        </pc:spChg>
      </pc:sldChg>
      <pc:sldChg chg="del">
        <pc:chgData name="瑄文 李" userId="8b7801f2b2d3b0de" providerId="LiveId" clId="{4E3C47B5-72D5-49AD-BADB-5A4AF21CB818}" dt="2021-12-19T06:32:58.727" v="285" actId="47"/>
        <pc:sldMkLst>
          <pc:docMk/>
          <pc:sldMk cId="1941826077" sldId="614"/>
        </pc:sldMkLst>
      </pc:sldChg>
      <pc:sldChg chg="del">
        <pc:chgData name="瑄文 李" userId="8b7801f2b2d3b0de" providerId="LiveId" clId="{4E3C47B5-72D5-49AD-BADB-5A4AF21CB818}" dt="2021-12-19T06:32:59.842" v="286" actId="47"/>
        <pc:sldMkLst>
          <pc:docMk/>
          <pc:sldMk cId="4202862974" sldId="615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914421820" sldId="617"/>
        </pc:sldMkLst>
      </pc:sldChg>
      <pc:sldChg chg="del">
        <pc:chgData name="瑄文 李" userId="8b7801f2b2d3b0de" providerId="LiveId" clId="{4E3C47B5-72D5-49AD-BADB-5A4AF21CB818}" dt="2021-12-19T06:11:21.031" v="4" actId="47"/>
        <pc:sldMkLst>
          <pc:docMk/>
          <pc:sldMk cId="1575457684" sldId="699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1429540664" sldId="877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735789653" sldId="879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158573153" sldId="880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118451165" sldId="889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197699772" sldId="894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446310773" sldId="900"/>
        </pc:sldMkLst>
      </pc:sldChg>
      <pc:sldChg chg="delSp modSp mod">
        <pc:chgData name="瑄文 李" userId="8b7801f2b2d3b0de" providerId="LiveId" clId="{4E3C47B5-72D5-49AD-BADB-5A4AF21CB818}" dt="2021-12-19T06:39:11.531" v="376" actId="478"/>
        <pc:sldMkLst>
          <pc:docMk/>
          <pc:sldMk cId="2908561611" sldId="913"/>
        </pc:sldMkLst>
        <pc:spChg chg="mod">
          <ac:chgData name="瑄文 李" userId="8b7801f2b2d3b0de" providerId="LiveId" clId="{4E3C47B5-72D5-49AD-BADB-5A4AF21CB818}" dt="2021-12-19T06:39:06.951" v="375" actId="20577"/>
          <ac:spMkLst>
            <pc:docMk/>
            <pc:sldMk cId="2908561611" sldId="913"/>
            <ac:spMk id="12" creationId="{1FF703F7-7B00-4A6F-BECB-F56E3843B731}"/>
          </ac:spMkLst>
        </pc:spChg>
        <pc:picChg chg="del">
          <ac:chgData name="瑄文 李" userId="8b7801f2b2d3b0de" providerId="LiveId" clId="{4E3C47B5-72D5-49AD-BADB-5A4AF21CB818}" dt="2021-12-19T06:39:11.531" v="376" actId="478"/>
          <ac:picMkLst>
            <pc:docMk/>
            <pc:sldMk cId="2908561611" sldId="913"/>
            <ac:picMk id="5" creationId="{7D8305CA-A167-4215-BBB9-61DC8B72C427}"/>
          </ac:picMkLst>
        </pc:picChg>
      </pc:sldChg>
      <pc:sldChg chg="modSp mod ord">
        <pc:chgData name="瑄文 李" userId="8b7801f2b2d3b0de" providerId="LiveId" clId="{4E3C47B5-72D5-49AD-BADB-5A4AF21CB818}" dt="2021-12-19T06:42:30.090" v="414" actId="14100"/>
        <pc:sldMkLst>
          <pc:docMk/>
          <pc:sldMk cId="1260569801" sldId="917"/>
        </pc:sldMkLst>
        <pc:spChg chg="mod">
          <ac:chgData name="瑄文 李" userId="8b7801f2b2d3b0de" providerId="LiveId" clId="{4E3C47B5-72D5-49AD-BADB-5A4AF21CB818}" dt="2021-12-19T06:42:30.090" v="414" actId="14100"/>
          <ac:spMkLst>
            <pc:docMk/>
            <pc:sldMk cId="1260569801" sldId="917"/>
            <ac:spMk id="6" creationId="{0B98CEAE-54F6-48FB-BE1B-89CBD12536B1}"/>
          </ac:spMkLst>
        </pc:spChg>
      </pc:sldChg>
      <pc:sldChg chg="modSp mod ord">
        <pc:chgData name="瑄文 李" userId="8b7801f2b2d3b0de" providerId="LiveId" clId="{4E3C47B5-72D5-49AD-BADB-5A4AF21CB818}" dt="2021-12-19T06:42:18.169" v="410" actId="14100"/>
        <pc:sldMkLst>
          <pc:docMk/>
          <pc:sldMk cId="2455710875" sldId="919"/>
        </pc:sldMkLst>
        <pc:spChg chg="mod">
          <ac:chgData name="瑄文 李" userId="8b7801f2b2d3b0de" providerId="LiveId" clId="{4E3C47B5-72D5-49AD-BADB-5A4AF21CB818}" dt="2021-12-19T06:42:18.169" v="410" actId="14100"/>
          <ac:spMkLst>
            <pc:docMk/>
            <pc:sldMk cId="2455710875" sldId="919"/>
            <ac:spMk id="2" creationId="{722ACF91-C66D-40F8-B1D2-81EB898E2374}"/>
          </ac:spMkLst>
        </pc:spChg>
      </pc:sldChg>
      <pc:sldChg chg="modSp mod ord">
        <pc:chgData name="瑄文 李" userId="8b7801f2b2d3b0de" providerId="LiveId" clId="{4E3C47B5-72D5-49AD-BADB-5A4AF21CB818}" dt="2021-12-19T06:42:24.636" v="412" actId="14100"/>
        <pc:sldMkLst>
          <pc:docMk/>
          <pc:sldMk cId="2919763103" sldId="920"/>
        </pc:sldMkLst>
        <pc:spChg chg="mod">
          <ac:chgData name="瑄文 李" userId="8b7801f2b2d3b0de" providerId="LiveId" clId="{4E3C47B5-72D5-49AD-BADB-5A4AF21CB818}" dt="2021-12-19T06:42:24.636" v="412" actId="14100"/>
          <ac:spMkLst>
            <pc:docMk/>
            <pc:sldMk cId="2919763103" sldId="920"/>
            <ac:spMk id="2" creationId="{A4CC9CB6-4768-44FB-AA7E-0483CE45CD48}"/>
          </ac:spMkLst>
        </pc:spChg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2552631453" sldId="947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3906318079" sldId="951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3708043272" sldId="952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0" sldId="953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887212588" sldId="954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1792081653" sldId="955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565142607" sldId="956"/>
        </pc:sldMkLst>
      </pc:sldChg>
      <pc:sldChg chg="ord">
        <pc:chgData name="瑄文 李" userId="8b7801f2b2d3b0de" providerId="LiveId" clId="{4E3C47B5-72D5-49AD-BADB-5A4AF21CB818}" dt="2021-12-19T06:39:33.309" v="381"/>
        <pc:sldMkLst>
          <pc:docMk/>
          <pc:sldMk cId="2207680944" sldId="962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2592135546" sldId="965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1465141021" sldId="969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1791686438" sldId="970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696714153" sldId="971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662536263" sldId="972"/>
        </pc:sldMkLst>
      </pc:sldChg>
      <pc:sldChg chg="addSp modSp mod ord">
        <pc:chgData name="瑄文 李" userId="8b7801f2b2d3b0de" providerId="LiveId" clId="{4E3C47B5-72D5-49AD-BADB-5A4AF21CB818}" dt="2021-12-19T07:09:05.152" v="491" actId="20577"/>
        <pc:sldMkLst>
          <pc:docMk/>
          <pc:sldMk cId="2675716220" sldId="980"/>
        </pc:sldMkLst>
        <pc:spChg chg="add mod">
          <ac:chgData name="瑄文 李" userId="8b7801f2b2d3b0de" providerId="LiveId" clId="{4E3C47B5-72D5-49AD-BADB-5A4AF21CB818}" dt="2021-12-19T07:09:05.152" v="491" actId="20577"/>
          <ac:spMkLst>
            <pc:docMk/>
            <pc:sldMk cId="2675716220" sldId="980"/>
            <ac:spMk id="6" creationId="{E8B982C9-940E-46C7-A869-76EA22537597}"/>
          </ac:spMkLst>
        </pc:spChg>
      </pc:sldChg>
      <pc:sldChg chg="del">
        <pc:chgData name="瑄文 李" userId="8b7801f2b2d3b0de" providerId="LiveId" clId="{4E3C47B5-72D5-49AD-BADB-5A4AF21CB818}" dt="2021-12-19T06:11:21.031" v="4" actId="47"/>
        <pc:sldMkLst>
          <pc:docMk/>
          <pc:sldMk cId="787938398" sldId="983"/>
        </pc:sldMkLst>
      </pc:sldChg>
      <pc:sldChg chg="modSp mod ord">
        <pc:chgData name="瑄文 李" userId="8b7801f2b2d3b0de" providerId="LiveId" clId="{4E3C47B5-72D5-49AD-BADB-5A4AF21CB818}" dt="2021-12-19T06:33:30.965" v="333" actId="20577"/>
        <pc:sldMkLst>
          <pc:docMk/>
          <pc:sldMk cId="4099387705" sldId="984"/>
        </pc:sldMkLst>
        <pc:spChg chg="mod">
          <ac:chgData name="瑄文 李" userId="8b7801f2b2d3b0de" providerId="LiveId" clId="{4E3C47B5-72D5-49AD-BADB-5A4AF21CB818}" dt="2021-12-19T06:33:30.965" v="333" actId="20577"/>
          <ac:spMkLst>
            <pc:docMk/>
            <pc:sldMk cId="4099387705" sldId="984"/>
            <ac:spMk id="3" creationId="{09696C15-C8AC-472A-85E3-DE6544C11AB3}"/>
          </ac:spMkLst>
        </pc:spChg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887597001" sldId="985"/>
        </pc:sldMkLst>
      </pc:sldChg>
      <pc:sldChg chg="del">
        <pc:chgData name="瑄文 李" userId="8b7801f2b2d3b0de" providerId="LiveId" clId="{4E3C47B5-72D5-49AD-BADB-5A4AF21CB818}" dt="2021-12-19T06:41:08.327" v="382" actId="47"/>
        <pc:sldMkLst>
          <pc:docMk/>
          <pc:sldMk cId="1284375911" sldId="986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2697888260" sldId="987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602887924" sldId="988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919423547" sldId="989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0" sldId="991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1983790427" sldId="992"/>
        </pc:sldMkLst>
      </pc:sldChg>
      <pc:sldChg chg="delSp mod">
        <pc:chgData name="瑄文 李" userId="8b7801f2b2d3b0de" providerId="LiveId" clId="{4E3C47B5-72D5-49AD-BADB-5A4AF21CB818}" dt="2021-12-19T06:39:14.057" v="377" actId="478"/>
        <pc:sldMkLst>
          <pc:docMk/>
          <pc:sldMk cId="3595608660" sldId="993"/>
        </pc:sldMkLst>
        <pc:picChg chg="del">
          <ac:chgData name="瑄文 李" userId="8b7801f2b2d3b0de" providerId="LiveId" clId="{4E3C47B5-72D5-49AD-BADB-5A4AF21CB818}" dt="2021-12-19T06:39:14.057" v="377" actId="478"/>
          <ac:picMkLst>
            <pc:docMk/>
            <pc:sldMk cId="3595608660" sldId="993"/>
            <ac:picMk id="3" creationId="{9787FE9A-757F-4D79-B47A-DBF9FB30F8C9}"/>
          </ac:picMkLst>
        </pc:picChg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1448085624" sldId="1011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695139924" sldId="1012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1264669401" sldId="1034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3340489402" sldId="1037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55981276" sldId="1049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783187816" sldId="1050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399335908" sldId="1051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1019831148" sldId="1052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3781998855" sldId="1053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25536361" sldId="1054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3256381143" sldId="1055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876301925" sldId="1056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432640128" sldId="1057"/>
        </pc:sldMkLst>
      </pc:sldChg>
      <pc:sldChg chg="del">
        <pc:chgData name="瑄文 李" userId="8b7801f2b2d3b0de" providerId="LiveId" clId="{4E3C47B5-72D5-49AD-BADB-5A4AF21CB818}" dt="2021-12-19T06:28:53.441" v="284" actId="47"/>
        <pc:sldMkLst>
          <pc:docMk/>
          <pc:sldMk cId="2046194521" sldId="1058"/>
        </pc:sldMkLst>
      </pc:sldChg>
      <pc:sldChg chg="add del ord">
        <pc:chgData name="瑄文 李" userId="8b7801f2b2d3b0de" providerId="LiveId" clId="{4E3C47B5-72D5-49AD-BADB-5A4AF21CB818}" dt="2021-12-19T07:04:02.151" v="416" actId="47"/>
        <pc:sldMkLst>
          <pc:docMk/>
          <pc:sldMk cId="237382046" sldId="1068"/>
        </pc:sldMkLst>
      </pc:sldChg>
      <pc:sldChg chg="add del ord">
        <pc:chgData name="瑄文 李" userId="8b7801f2b2d3b0de" providerId="LiveId" clId="{4E3C47B5-72D5-49AD-BADB-5A4AF21CB818}" dt="2021-12-19T07:04:02.151" v="416" actId="47"/>
        <pc:sldMkLst>
          <pc:docMk/>
          <pc:sldMk cId="2660450171" sldId="1069"/>
        </pc:sldMkLst>
      </pc:sldChg>
      <pc:sldChg chg="del">
        <pc:chgData name="瑄文 李" userId="8b7801f2b2d3b0de" providerId="LiveId" clId="{4E3C47B5-72D5-49AD-BADB-5A4AF21CB818}" dt="2021-12-19T06:26:38.018" v="196" actId="47"/>
        <pc:sldMkLst>
          <pc:docMk/>
          <pc:sldMk cId="2541204999" sldId="1086"/>
        </pc:sldMkLst>
      </pc:sldChg>
      <pc:sldChg chg="del">
        <pc:chgData name="瑄文 李" userId="8b7801f2b2d3b0de" providerId="LiveId" clId="{4E3C47B5-72D5-49AD-BADB-5A4AF21CB818}" dt="2021-12-19T06:34:47.635" v="362" actId="47"/>
        <pc:sldMkLst>
          <pc:docMk/>
          <pc:sldMk cId="999919413" sldId="1087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284235781" sldId="1123"/>
        </pc:sldMkLst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1360697601" sldId="1126"/>
        </pc:sldMkLst>
      </pc:sldChg>
      <pc:sldChg chg="addSp modSp mod">
        <pc:chgData name="瑄文 李" userId="8b7801f2b2d3b0de" providerId="LiveId" clId="{4E3C47B5-72D5-49AD-BADB-5A4AF21CB818}" dt="2021-12-19T07:08:58.721" v="475"/>
        <pc:sldMkLst>
          <pc:docMk/>
          <pc:sldMk cId="4098643815" sldId="1128"/>
        </pc:sldMkLst>
        <pc:spChg chg="mod">
          <ac:chgData name="瑄文 李" userId="8b7801f2b2d3b0de" providerId="LiveId" clId="{4E3C47B5-72D5-49AD-BADB-5A4AF21CB818}" dt="2021-12-19T07:06:04.395" v="424" actId="20577"/>
          <ac:spMkLst>
            <pc:docMk/>
            <pc:sldMk cId="4098643815" sldId="1128"/>
            <ac:spMk id="10" creationId="{4387862F-D5CD-49F0-B7E6-B9628B6DBBEF}"/>
          </ac:spMkLst>
        </pc:spChg>
        <pc:spChg chg="add mod">
          <ac:chgData name="瑄文 李" userId="8b7801f2b2d3b0de" providerId="LiveId" clId="{4E3C47B5-72D5-49AD-BADB-5A4AF21CB818}" dt="2021-12-19T07:08:58.721" v="475"/>
          <ac:spMkLst>
            <pc:docMk/>
            <pc:sldMk cId="4098643815" sldId="1128"/>
            <ac:spMk id="12" creationId="{658CD539-D184-409A-9EB3-9343DA3540E2}"/>
          </ac:spMkLst>
        </pc:spChg>
      </pc:sldChg>
      <pc:sldChg chg="del">
        <pc:chgData name="瑄文 李" userId="8b7801f2b2d3b0de" providerId="LiveId" clId="{4E3C47B5-72D5-49AD-BADB-5A4AF21CB818}" dt="2021-12-19T06:39:23.060" v="378" actId="47"/>
        <pc:sldMkLst>
          <pc:docMk/>
          <pc:sldMk cId="1060292390" sldId="1129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2626315681" sldId="1130"/>
        </pc:sldMkLst>
      </pc:sldChg>
      <pc:sldChg chg="addSp delSp modSp del mod ord">
        <pc:chgData name="瑄文 李" userId="8b7801f2b2d3b0de" providerId="LiveId" clId="{4E3C47B5-72D5-49AD-BADB-5A4AF21CB818}" dt="2021-12-19T06:13:11.763" v="55" actId="47"/>
        <pc:sldMkLst>
          <pc:docMk/>
          <pc:sldMk cId="0" sldId="1133"/>
        </pc:sldMkLst>
        <pc:picChg chg="add del mod">
          <ac:chgData name="瑄文 李" userId="8b7801f2b2d3b0de" providerId="LiveId" clId="{4E3C47B5-72D5-49AD-BADB-5A4AF21CB818}" dt="2021-12-19T06:13:09.462" v="54" actId="478"/>
          <ac:picMkLst>
            <pc:docMk/>
            <pc:sldMk cId="0" sldId="1133"/>
            <ac:picMk id="5" creationId="{0644EB31-B170-41FA-9980-431233723927}"/>
          </ac:picMkLst>
        </pc:picChg>
      </pc:sldChg>
      <pc:sldChg chg="del">
        <pc:chgData name="瑄文 李" userId="8b7801f2b2d3b0de" providerId="LiveId" clId="{4E3C47B5-72D5-49AD-BADB-5A4AF21CB818}" dt="2021-12-19T06:11:21.031" v="4" actId="47"/>
        <pc:sldMkLst>
          <pc:docMk/>
          <pc:sldMk cId="3034600031" sldId="1135"/>
        </pc:sldMkLst>
      </pc:sldChg>
      <pc:sldChg chg="del">
        <pc:chgData name="瑄文 李" userId="8b7801f2b2d3b0de" providerId="LiveId" clId="{4E3C47B5-72D5-49AD-BADB-5A4AF21CB818}" dt="2021-12-19T06:26:38.018" v="196" actId="47"/>
        <pc:sldMkLst>
          <pc:docMk/>
          <pc:sldMk cId="389073485" sldId="1139"/>
        </pc:sldMkLst>
      </pc:sldChg>
      <pc:sldChg chg="del">
        <pc:chgData name="瑄文 李" userId="8b7801f2b2d3b0de" providerId="LiveId" clId="{4E3C47B5-72D5-49AD-BADB-5A4AF21CB818}" dt="2021-12-19T06:26:38.018" v="196" actId="47"/>
        <pc:sldMkLst>
          <pc:docMk/>
          <pc:sldMk cId="504672207" sldId="1140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1258378273" sldId="1141"/>
        </pc:sldMkLst>
      </pc:sldChg>
      <pc:sldChg chg="del">
        <pc:chgData name="瑄文 李" userId="8b7801f2b2d3b0de" providerId="LiveId" clId="{4E3C47B5-72D5-49AD-BADB-5A4AF21CB818}" dt="2021-12-19T06:39:01.371" v="374" actId="47"/>
        <pc:sldMkLst>
          <pc:docMk/>
          <pc:sldMk cId="3280911327" sldId="1142"/>
        </pc:sldMkLst>
      </pc:sldChg>
      <pc:sldChg chg="addSp delSp modSp new mod">
        <pc:chgData name="瑄文 李" userId="8b7801f2b2d3b0de" providerId="LiveId" clId="{4E3C47B5-72D5-49AD-BADB-5A4AF21CB818}" dt="2021-12-19T06:26:46.787" v="221" actId="20577"/>
        <pc:sldMkLst>
          <pc:docMk/>
          <pc:sldMk cId="794409163" sldId="1143"/>
        </pc:sldMkLst>
        <pc:spChg chg="del">
          <ac:chgData name="瑄文 李" userId="8b7801f2b2d3b0de" providerId="LiveId" clId="{4E3C47B5-72D5-49AD-BADB-5A4AF21CB818}" dt="2021-12-19T06:22:13.702" v="57"/>
          <ac:spMkLst>
            <pc:docMk/>
            <pc:sldMk cId="794409163" sldId="1143"/>
            <ac:spMk id="3" creationId="{4B10925B-F6C7-4FA7-8B21-5979D1FCE3A9}"/>
          </ac:spMkLst>
        </pc:spChg>
        <pc:spChg chg="add mod">
          <ac:chgData name="瑄文 李" userId="8b7801f2b2d3b0de" providerId="LiveId" clId="{4E3C47B5-72D5-49AD-BADB-5A4AF21CB818}" dt="2021-12-19T06:26:46.787" v="221" actId="20577"/>
          <ac:spMkLst>
            <pc:docMk/>
            <pc:sldMk cId="794409163" sldId="1143"/>
            <ac:spMk id="9" creationId="{DB579007-43D5-4CE4-A014-36E116579183}"/>
          </ac:spMkLst>
        </pc:spChg>
        <pc:picChg chg="add mod ord">
          <ac:chgData name="瑄文 李" userId="8b7801f2b2d3b0de" providerId="LiveId" clId="{4E3C47B5-72D5-49AD-BADB-5A4AF21CB818}" dt="2021-12-19T06:23:14.566" v="65" actId="1076"/>
          <ac:picMkLst>
            <pc:docMk/>
            <pc:sldMk cId="794409163" sldId="1143"/>
            <ac:picMk id="6" creationId="{461204B7-50A6-4445-8CB0-CE6F92A73B6E}"/>
          </ac:picMkLst>
        </pc:picChg>
        <pc:picChg chg="add mod">
          <ac:chgData name="瑄文 李" userId="8b7801f2b2d3b0de" providerId="LiveId" clId="{4E3C47B5-72D5-49AD-BADB-5A4AF21CB818}" dt="2021-12-19T06:23:35.943" v="70" actId="1076"/>
          <ac:picMkLst>
            <pc:docMk/>
            <pc:sldMk cId="794409163" sldId="1143"/>
            <ac:picMk id="8" creationId="{93B25E63-EC6B-4FC2-A7CD-88E7619033B8}"/>
          </ac:picMkLst>
        </pc:picChg>
      </pc:sldChg>
      <pc:sldChg chg="delSp modSp add mod">
        <pc:chgData name="瑄文 李" userId="8b7801f2b2d3b0de" providerId="LiveId" clId="{4E3C47B5-72D5-49AD-BADB-5A4AF21CB818}" dt="2021-12-19T06:34:07.560" v="361"/>
        <pc:sldMkLst>
          <pc:docMk/>
          <pc:sldMk cId="750962599" sldId="1144"/>
        </pc:sldMkLst>
        <pc:spChg chg="del mod">
          <ac:chgData name="瑄文 李" userId="8b7801f2b2d3b0de" providerId="LiveId" clId="{4E3C47B5-72D5-49AD-BADB-5A4AF21CB818}" dt="2021-12-19T06:34:07.560" v="361"/>
          <ac:spMkLst>
            <pc:docMk/>
            <pc:sldMk cId="750962599" sldId="1144"/>
            <ac:spMk id="8" creationId="{EA2B36B3-96F9-4E27-B1EB-90264FB56B68}"/>
          </ac:spMkLst>
        </pc:spChg>
        <pc:spChg chg="mod">
          <ac:chgData name="瑄文 李" userId="8b7801f2b2d3b0de" providerId="LiveId" clId="{4E3C47B5-72D5-49AD-BADB-5A4AF21CB818}" dt="2021-12-19T06:34:02.976" v="356" actId="20577"/>
          <ac:spMkLst>
            <pc:docMk/>
            <pc:sldMk cId="750962599" sldId="1144"/>
            <ac:spMk id="278" creationId="{00000000-0000-0000-0000-000000000000}"/>
          </ac:spMkLst>
        </pc:spChg>
      </pc:sldChg>
      <pc:sldMasterChg chg="delSldLayout">
        <pc:chgData name="瑄文 李" userId="8b7801f2b2d3b0de" providerId="LiveId" clId="{4E3C47B5-72D5-49AD-BADB-5A4AF21CB818}" dt="2021-12-19T06:11:21.031" v="4" actId="47"/>
        <pc:sldMasterMkLst>
          <pc:docMk/>
          <pc:sldMasterMk cId="1511965471" sldId="2147483837"/>
        </pc:sldMasterMkLst>
        <pc:sldLayoutChg chg="del">
          <pc:chgData name="瑄文 李" userId="8b7801f2b2d3b0de" providerId="LiveId" clId="{4E3C47B5-72D5-49AD-BADB-5A4AF21CB818}" dt="2021-12-19T06:11:21.031" v="4" actId="47"/>
          <pc:sldLayoutMkLst>
            <pc:docMk/>
            <pc:sldMasterMk cId="1511965471" sldId="2147483837"/>
            <pc:sldLayoutMk cId="3930758641" sldId="2147483856"/>
          </pc:sldLayoutMkLst>
        </pc:sldLayoutChg>
      </pc:sldMasterChg>
      <pc:sldMasterChg chg="del delSldLayout">
        <pc:chgData name="瑄文 李" userId="8b7801f2b2d3b0de" providerId="LiveId" clId="{4E3C47B5-72D5-49AD-BADB-5A4AF21CB818}" dt="2021-12-19T06:39:01.371" v="374" actId="47"/>
        <pc:sldMasterMkLst>
          <pc:docMk/>
          <pc:sldMasterMk cId="3035845453" sldId="2147483857"/>
        </pc:sldMasterMkLst>
        <pc:sldLayoutChg chg="del">
          <pc:chgData name="瑄文 李" userId="8b7801f2b2d3b0de" providerId="LiveId" clId="{4E3C47B5-72D5-49AD-BADB-5A4AF21CB818}" dt="2021-12-19T06:39:01.371" v="374" actId="47"/>
          <pc:sldLayoutMkLst>
            <pc:docMk/>
            <pc:sldMasterMk cId="3035845453" sldId="2147483857"/>
            <pc:sldLayoutMk cId="4291505339" sldId="2147483858"/>
          </pc:sldLayoutMkLst>
        </pc:sldLayoutChg>
        <pc:sldLayoutChg chg="del">
          <pc:chgData name="瑄文 李" userId="8b7801f2b2d3b0de" providerId="LiveId" clId="{4E3C47B5-72D5-49AD-BADB-5A4AF21CB818}" dt="2021-12-19T06:39:01.371" v="374" actId="47"/>
          <pc:sldLayoutMkLst>
            <pc:docMk/>
            <pc:sldMasterMk cId="3035845453" sldId="2147483857"/>
            <pc:sldLayoutMk cId="586427743" sldId="2147483859"/>
          </pc:sldLayoutMkLst>
        </pc:sldLayoutChg>
        <pc:sldLayoutChg chg="del">
          <pc:chgData name="瑄文 李" userId="8b7801f2b2d3b0de" providerId="LiveId" clId="{4E3C47B5-72D5-49AD-BADB-5A4AF21CB818}" dt="2021-12-19T06:39:01.371" v="374" actId="47"/>
          <pc:sldLayoutMkLst>
            <pc:docMk/>
            <pc:sldMasterMk cId="3035845453" sldId="2147483857"/>
            <pc:sldLayoutMk cId="1086292641" sldId="2147483860"/>
          </pc:sldLayoutMkLst>
        </pc:sldLayoutChg>
        <pc:sldLayoutChg chg="del">
          <pc:chgData name="瑄文 李" userId="8b7801f2b2d3b0de" providerId="LiveId" clId="{4E3C47B5-72D5-49AD-BADB-5A4AF21CB818}" dt="2021-12-19T06:39:01.371" v="374" actId="47"/>
          <pc:sldLayoutMkLst>
            <pc:docMk/>
            <pc:sldMasterMk cId="3035845453" sldId="2147483857"/>
            <pc:sldLayoutMk cId="2317025469" sldId="2147483861"/>
          </pc:sldLayoutMkLst>
        </pc:sldLayoutChg>
        <pc:sldLayoutChg chg="del">
          <pc:chgData name="瑄文 李" userId="8b7801f2b2d3b0de" providerId="LiveId" clId="{4E3C47B5-72D5-49AD-BADB-5A4AF21CB818}" dt="2021-12-19T06:39:01.371" v="374" actId="47"/>
          <pc:sldLayoutMkLst>
            <pc:docMk/>
            <pc:sldMasterMk cId="3035845453" sldId="2147483857"/>
            <pc:sldLayoutMk cId="1743650152" sldId="2147483910"/>
          </pc:sldLayoutMkLst>
        </pc:sldLayoutChg>
      </pc:sldMasterChg>
      <pc:sldMasterChg chg="delSldLayout">
        <pc:chgData name="瑄文 李" userId="8b7801f2b2d3b0de" providerId="LiveId" clId="{4E3C47B5-72D5-49AD-BADB-5A4AF21CB818}" dt="2021-12-19T06:28:53.441" v="284" actId="47"/>
        <pc:sldMasterMkLst>
          <pc:docMk/>
          <pc:sldMasterMk cId="3902311281" sldId="2147483863"/>
        </pc:sldMasterMkLst>
        <pc:sldLayoutChg chg="del">
          <pc:chgData name="瑄文 李" userId="8b7801f2b2d3b0de" providerId="LiveId" clId="{4E3C47B5-72D5-49AD-BADB-5A4AF21CB818}" dt="2021-12-19T06:28:53.441" v="284" actId="47"/>
          <pc:sldLayoutMkLst>
            <pc:docMk/>
            <pc:sldMasterMk cId="3902311281" sldId="2147483863"/>
            <pc:sldLayoutMk cId="517534988" sldId="2147483876"/>
          </pc:sldLayoutMkLst>
        </pc:sldLayoutChg>
      </pc:sldMasterChg>
      <pc:sldMasterChg chg="del delSldLayout">
        <pc:chgData name="瑄文 李" userId="8b7801f2b2d3b0de" providerId="LiveId" clId="{4E3C47B5-72D5-49AD-BADB-5A4AF21CB818}" dt="2021-12-19T06:26:38.018" v="196" actId="47"/>
        <pc:sldMasterMkLst>
          <pc:docMk/>
          <pc:sldMasterMk cId="2372298094" sldId="2147483920"/>
        </pc:sldMasterMkLst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4222987559" sldId="2147483921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393744689" sldId="2147483922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4233667684" sldId="2147483923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961530672" sldId="2147483924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4029099731" sldId="2147483925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1349731104" sldId="2147483926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1867895438" sldId="2147483927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3437058877" sldId="2147483928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3700563730" sldId="2147483929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364746244" sldId="2147483930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83994127" sldId="2147483931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4191053503" sldId="2147483932"/>
          </pc:sldLayoutMkLst>
        </pc:sldLayoutChg>
        <pc:sldLayoutChg chg="del">
          <pc:chgData name="瑄文 李" userId="8b7801f2b2d3b0de" providerId="LiveId" clId="{4E3C47B5-72D5-49AD-BADB-5A4AF21CB818}" dt="2021-12-19T06:26:38.018" v="196" actId="47"/>
          <pc:sldLayoutMkLst>
            <pc:docMk/>
            <pc:sldMasterMk cId="2372298094" sldId="2147483920"/>
            <pc:sldLayoutMk cId="984470526" sldId="2147483933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4FF9D2-6657-45A8-B2D9-A9CE48A46159}" type="datetimeFigureOut">
              <a:rPr lang="zh-TW" altLang="en-US" smtClean="0"/>
              <a:t>2021/12/24</a:t>
            </a:fld>
            <a:endParaRPr lang="zh-TW" altLang="en-US"/>
          </a:p>
        </p:txBody>
      </p:sp>
      <p:sp>
        <p:nvSpPr>
          <p:cNvPr id="4" name="投影片影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E21455-375D-454E-834E-8B148D32E3CC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87633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52" name="Google Shape;252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66" name="Google Shape;266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3" name="Google Shape;27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6558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3" name="Google Shape;27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15298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3" name="Google Shape;27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3322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3" name="Google Shape;27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74946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3" name="Google Shape;273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4" name="Google Shape;274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33752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00" name="Google Shape;200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09" name="Google Shape;10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dbe799c45d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" name="Google Shape;123;gdbe799c45d_0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13" name="Google Shape;213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影像版面配置區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TW" altLang="en-US" dirty="0"/>
              <a:t>影片</a:t>
            </a:r>
            <a:r>
              <a:rPr lang="en-US" altLang="zh-TW" dirty="0"/>
              <a:t>3</a:t>
            </a:r>
            <a:r>
              <a:rPr lang="zh-TW" altLang="en-US" dirty="0"/>
              <a:t>分鐘</a:t>
            </a:r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5"/>
          </p:nvPr>
        </p:nvSpPr>
        <p:spPr>
          <a:xfrm>
            <a:off x="3884885" y="8685200"/>
            <a:ext cx="2972019" cy="4566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AE14B8-3CC9-472D-9BC5-A84D80684DE2}" type="slidenum">
              <a:rPr kumimoji="0" lang="en-US" altLang="zh-TW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4332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241" name="Google Shape;241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物件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2094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480" imgH="479" progId="TCLayout.ActiveDocument.1">
                  <p:embed/>
                </p:oleObj>
              </mc:Choice>
              <mc:Fallback>
                <p:oleObj name="think-cell Slide" r:id="rId4" imgW="480" imgH="479" progId="TCLayout.ActiveDocument.1">
                  <p:embed/>
                  <p:pic>
                    <p:nvPicPr>
                      <p:cNvPr id="8" name="物件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54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/>
              <a:t>按一下以編輯母片副標題樣式</a:t>
            </a:r>
            <a:endParaRPr lang="en-US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FED83F2C-C28A-473B-8B7C-4562511E504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40570" y="4098"/>
            <a:ext cx="1451429" cy="181791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図プレースホルダー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1" hasCustomPrompt="1"/>
          </p:nvPr>
        </p:nvSpPr>
        <p:spPr>
          <a:xfrm>
            <a:off x="433195" y="1940835"/>
            <a:ext cx="4512761" cy="4512369"/>
          </a:xfrm>
          <a:prstGeom prst="ellipse">
            <a:avLst/>
          </a:prstGeom>
          <a:solidFill>
            <a:schemeClr val="accent1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7" name="テキスト プレースホルダー 5"/>
          <p:cNvSpPr>
            <a:spLocks noGrp="1"/>
          </p:cNvSpPr>
          <p:nvPr>
            <p:ph type="body" sz="quarter" idx="12" hasCustomPrompt="1"/>
          </p:nvPr>
        </p:nvSpPr>
        <p:spPr>
          <a:xfrm>
            <a:off x="334860" y="1508786"/>
            <a:ext cx="960190" cy="960107"/>
          </a:xfrm>
          <a:prstGeom prst="ellipse">
            <a:avLst/>
          </a:prstGeom>
          <a:solidFill>
            <a:schemeClr val="accent3">
              <a:alpha val="80000"/>
            </a:schemeClr>
          </a:solidFill>
        </p:spPr>
        <p:txBody>
          <a:bodyPr/>
          <a:lstStyle>
            <a:lvl1pPr>
              <a:defRPr>
                <a:latin typeface="Route 159 UltraLight" pitchFamily="50" charset="0"/>
              </a:defRPr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8" name="テキスト プレースホルダー 5"/>
          <p:cNvSpPr>
            <a:spLocks noGrp="1"/>
          </p:cNvSpPr>
          <p:nvPr>
            <p:ph type="body" sz="quarter" idx="13" hasCustomPrompt="1"/>
          </p:nvPr>
        </p:nvSpPr>
        <p:spPr>
          <a:xfrm>
            <a:off x="5063143" y="4511094"/>
            <a:ext cx="624123" cy="624069"/>
          </a:xfrm>
          <a:prstGeom prst="ellipse">
            <a:avLst/>
          </a:prstGeom>
          <a:solidFill>
            <a:schemeClr val="accent2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9" name="テキスト プレースホルダー 5"/>
          <p:cNvSpPr>
            <a:spLocks noGrp="1"/>
          </p:cNvSpPr>
          <p:nvPr>
            <p:ph type="body" sz="quarter" idx="14" hasCustomPrompt="1"/>
          </p:nvPr>
        </p:nvSpPr>
        <p:spPr>
          <a:xfrm>
            <a:off x="5052119" y="5301209"/>
            <a:ext cx="935533" cy="935451"/>
          </a:xfrm>
          <a:prstGeom prst="ellipse">
            <a:avLst/>
          </a:prstGeom>
          <a:solidFill>
            <a:schemeClr val="accent5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5" hasCustomPrompt="1"/>
          </p:nvPr>
        </p:nvSpPr>
        <p:spPr>
          <a:xfrm>
            <a:off x="406874" y="1508786"/>
            <a:ext cx="816161" cy="960107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kumimoji="1" lang="en-US" altLang="ja-JP" dirty="0"/>
              <a:t>9</a:t>
            </a:r>
            <a:endParaRPr kumimoji="1" lang="ja-JP" altLang="en-US" dirty="0"/>
          </a:p>
        </p:txBody>
      </p:sp>
      <p:sp>
        <p:nvSpPr>
          <p:cNvPr id="13" name="図プレースホルダー 12"/>
          <p:cNvSpPr>
            <a:spLocks noGrp="1"/>
          </p:cNvSpPr>
          <p:nvPr>
            <p:ph type="pic" sz="quarter" idx="16" hasCustomPrompt="1"/>
          </p:nvPr>
        </p:nvSpPr>
        <p:spPr>
          <a:xfrm>
            <a:off x="2305422" y="3429248"/>
            <a:ext cx="768309" cy="768242"/>
          </a:xfrm>
        </p:spPr>
        <p:txBody>
          <a:bodyPr/>
          <a:lstStyle>
            <a:lvl1pPr>
              <a:defRPr/>
            </a:lvl1pPr>
          </a:lstStyle>
          <a:p>
            <a:r>
              <a:rPr kumimoji="1" lang="en-US" altLang="ja-JP" dirty="0"/>
              <a:t>Icon</a:t>
            </a:r>
            <a:endParaRPr kumimoji="1" lang="ja-JP" altLang="en-US" dirty="0"/>
          </a:p>
        </p:txBody>
      </p:sp>
      <p:sp>
        <p:nvSpPr>
          <p:cNvPr id="14" name="テキスト プレースホルダー 6"/>
          <p:cNvSpPr>
            <a:spLocks noGrp="1"/>
          </p:cNvSpPr>
          <p:nvPr>
            <p:ph type="body" sz="quarter" idx="17" hasCustomPrompt="1"/>
          </p:nvPr>
        </p:nvSpPr>
        <p:spPr>
          <a:xfrm>
            <a:off x="577157" y="4293096"/>
            <a:ext cx="4224836" cy="672075"/>
          </a:xfrm>
        </p:spPr>
        <p:txBody>
          <a:bodyPr anchor="ctr">
            <a:normAutofit/>
          </a:bodyPr>
          <a:lstStyle>
            <a:lvl1pPr algn="ctr">
              <a:defRPr sz="2933" baseline="0">
                <a:solidFill>
                  <a:schemeClr val="bg1"/>
                </a:solidFill>
                <a:latin typeface="Route 159 Light" pitchFamily="50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6" name="テキスト プレースホルダー 5"/>
          <p:cNvSpPr>
            <a:spLocks noGrp="1"/>
          </p:cNvSpPr>
          <p:nvPr>
            <p:ph type="body" sz="quarter" idx="18" hasCustomPrompt="1"/>
          </p:nvPr>
        </p:nvSpPr>
        <p:spPr>
          <a:xfrm>
            <a:off x="6288038" y="5532123"/>
            <a:ext cx="790183" cy="790115"/>
          </a:xfrm>
          <a:prstGeom prst="ellipse">
            <a:avLst/>
          </a:prstGeom>
          <a:solidFill>
            <a:schemeClr val="accent6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17" name="テキスト プレースホルダー 5"/>
          <p:cNvSpPr>
            <a:spLocks noGrp="1"/>
          </p:cNvSpPr>
          <p:nvPr>
            <p:ph type="body" sz="quarter" idx="19" hasCustomPrompt="1"/>
          </p:nvPr>
        </p:nvSpPr>
        <p:spPr>
          <a:xfrm>
            <a:off x="1391069" y="1248653"/>
            <a:ext cx="528104" cy="528058"/>
          </a:xfrm>
          <a:prstGeom prst="ellipse">
            <a:avLst/>
          </a:prstGeom>
          <a:solidFill>
            <a:schemeClr val="accent4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75713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1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5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1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5" presetClass="entr" presetSubtype="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1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5" presetClass="entr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1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5" presetClass="entr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1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1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5" presetClass="entr" presetSubtype="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1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75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500"/>
                            </p:stCondLst>
                            <p:childTnLst>
                              <p:par>
                                <p:cTn id="67" presetID="2" presetClass="entr" presetSubtype="12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75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>
        <p:tmplLst>
          <p:tmpl>
            <p:tnLst>
              <p:par>
                <p:cTn presetID="2" presetClass="entr" presetSubtype="1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animBg="1">
        <p:tmplLst>
          <p:tmpl>
            <p:tnLst>
              <p:par>
                <p:cTn presetID="2" presetClass="entr" presetSubtype="1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7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0" animBg="1">
        <p:tmplLst>
          <p:tmpl>
            <p:tnLst>
              <p:par>
                <p:cTn presetID="2" presetClass="entr" presetSubtype="12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8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0" animBg="1">
        <p:tmplLst>
          <p:tmpl>
            <p:tnLst>
              <p:par>
                <p:cTn presetID="2" presetClass="entr" presetSubtype="12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2" presetClass="entr" presetSubtype="12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/>
      <p:bldP spid="14" grpId="0" build="p">
        <p:tmplLst>
          <p:tmpl lvl="1">
            <p:tnLst>
              <p:par>
                <p:cTn presetID="2" presetClass="entr" presetSubtype="12" decel="100000" fill="hold" nodeType="afterEffect">
                  <p:stCondLst>
                    <p:cond delay="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animBg="1">
        <p:tmplLst>
          <p:tmpl>
            <p:tnLst>
              <p:par>
                <p:cTn presetID="2" presetClass="entr" presetSubtype="12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6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1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1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0" animBg="1">
        <p:tmplLst>
          <p:tmpl>
            <p:tnLst>
              <p:par>
                <p:cTn presetID="2" presetClass="entr" presetSubtype="1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7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1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1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図プレースホルダー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1" hasCustomPrompt="1"/>
          </p:nvPr>
        </p:nvSpPr>
        <p:spPr>
          <a:xfrm>
            <a:off x="7200218" y="1940835"/>
            <a:ext cx="4512761" cy="4512369"/>
          </a:xfrm>
          <a:prstGeom prst="ellipse">
            <a:avLst/>
          </a:prstGeom>
          <a:solidFill>
            <a:schemeClr val="accent1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7" name="テキスト プレースホルダー 5"/>
          <p:cNvSpPr>
            <a:spLocks noGrp="1"/>
          </p:cNvSpPr>
          <p:nvPr>
            <p:ph type="body" sz="quarter" idx="12" hasCustomPrompt="1"/>
          </p:nvPr>
        </p:nvSpPr>
        <p:spPr>
          <a:xfrm>
            <a:off x="10992969" y="1508786"/>
            <a:ext cx="960190" cy="960107"/>
          </a:xfrm>
          <a:prstGeom prst="ellipse">
            <a:avLst/>
          </a:prstGeom>
          <a:solidFill>
            <a:schemeClr val="accent3">
              <a:alpha val="80000"/>
            </a:schemeClr>
          </a:solidFill>
        </p:spPr>
        <p:txBody>
          <a:bodyPr/>
          <a:lstStyle>
            <a:lvl1pPr>
              <a:defRPr>
                <a:latin typeface="Route 159 UltraLight" pitchFamily="50" charset="0"/>
              </a:defRPr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8" name="テキスト プレースホルダー 5"/>
          <p:cNvSpPr>
            <a:spLocks noGrp="1"/>
          </p:cNvSpPr>
          <p:nvPr>
            <p:ph type="body" sz="quarter" idx="13" hasCustomPrompt="1"/>
          </p:nvPr>
        </p:nvSpPr>
        <p:spPr>
          <a:xfrm>
            <a:off x="4511686" y="5186020"/>
            <a:ext cx="624123" cy="624069"/>
          </a:xfrm>
          <a:prstGeom prst="ellipse">
            <a:avLst/>
          </a:prstGeom>
          <a:solidFill>
            <a:schemeClr val="accent2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9" name="テキスト プレースホルダー 5"/>
          <p:cNvSpPr>
            <a:spLocks noGrp="1"/>
          </p:cNvSpPr>
          <p:nvPr>
            <p:ph type="body" sz="quarter" idx="14" hasCustomPrompt="1"/>
          </p:nvPr>
        </p:nvSpPr>
        <p:spPr>
          <a:xfrm>
            <a:off x="5471876" y="5530537"/>
            <a:ext cx="935533" cy="935451"/>
          </a:xfrm>
          <a:prstGeom prst="ellipse">
            <a:avLst/>
          </a:prstGeom>
          <a:solidFill>
            <a:schemeClr val="accent5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11" name="テキスト プレースホルダー 10"/>
          <p:cNvSpPr>
            <a:spLocks noGrp="1"/>
          </p:cNvSpPr>
          <p:nvPr>
            <p:ph type="body" sz="quarter" idx="15" hasCustomPrompt="1"/>
          </p:nvPr>
        </p:nvSpPr>
        <p:spPr>
          <a:xfrm>
            <a:off x="11064983" y="1508786"/>
            <a:ext cx="816161" cy="960107"/>
          </a:xfrm>
        </p:spPr>
        <p:txBody>
          <a:bodyPr anchor="ctr">
            <a:noAutofit/>
          </a:bodyPr>
          <a:lstStyle>
            <a:lvl1pPr algn="ctr">
              <a:defRPr sz="3600">
                <a:solidFill>
                  <a:schemeClr val="bg1"/>
                </a:solidFill>
                <a:latin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kumimoji="1" lang="en-US" altLang="ja-JP" dirty="0"/>
              <a:t>9</a:t>
            </a:r>
            <a:endParaRPr kumimoji="1" lang="ja-JP" altLang="en-US" dirty="0"/>
          </a:p>
        </p:txBody>
      </p:sp>
      <p:sp>
        <p:nvSpPr>
          <p:cNvPr id="13" name="図プレースホルダー 12"/>
          <p:cNvSpPr>
            <a:spLocks noGrp="1"/>
          </p:cNvSpPr>
          <p:nvPr>
            <p:ph type="pic" sz="quarter" idx="16" hasCustomPrompt="1"/>
          </p:nvPr>
        </p:nvSpPr>
        <p:spPr>
          <a:xfrm>
            <a:off x="9072445" y="3429248"/>
            <a:ext cx="768309" cy="768242"/>
          </a:xfrm>
        </p:spPr>
        <p:txBody>
          <a:bodyPr/>
          <a:lstStyle>
            <a:lvl1pPr>
              <a:defRPr/>
            </a:lvl1pPr>
          </a:lstStyle>
          <a:p>
            <a:r>
              <a:rPr kumimoji="1" lang="en-US" altLang="ja-JP" dirty="0"/>
              <a:t>Icon</a:t>
            </a:r>
            <a:endParaRPr kumimoji="1" lang="ja-JP" altLang="en-US" dirty="0"/>
          </a:p>
        </p:txBody>
      </p:sp>
      <p:sp>
        <p:nvSpPr>
          <p:cNvPr id="14" name="テキスト プレースホルダー 6"/>
          <p:cNvSpPr>
            <a:spLocks noGrp="1"/>
          </p:cNvSpPr>
          <p:nvPr>
            <p:ph type="body" sz="quarter" idx="17" hasCustomPrompt="1"/>
          </p:nvPr>
        </p:nvSpPr>
        <p:spPr>
          <a:xfrm>
            <a:off x="7344181" y="4293096"/>
            <a:ext cx="4224836" cy="672075"/>
          </a:xfrm>
        </p:spPr>
        <p:txBody>
          <a:bodyPr anchor="ctr">
            <a:normAutofit/>
          </a:bodyPr>
          <a:lstStyle>
            <a:lvl1pPr algn="ctr">
              <a:defRPr sz="2933" baseline="0">
                <a:solidFill>
                  <a:schemeClr val="bg1"/>
                </a:solidFill>
                <a:latin typeface="Route 159 Light" pitchFamily="50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6" name="テキスト プレースホルダー 5"/>
          <p:cNvSpPr>
            <a:spLocks noGrp="1"/>
          </p:cNvSpPr>
          <p:nvPr>
            <p:ph type="body" sz="quarter" idx="18" hasCustomPrompt="1"/>
          </p:nvPr>
        </p:nvSpPr>
        <p:spPr>
          <a:xfrm>
            <a:off x="6407409" y="4790962"/>
            <a:ext cx="790183" cy="790115"/>
          </a:xfrm>
          <a:prstGeom prst="ellipse">
            <a:avLst/>
          </a:prstGeom>
          <a:solidFill>
            <a:schemeClr val="accent6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17" name="テキスト プレースホルダー 5"/>
          <p:cNvSpPr>
            <a:spLocks noGrp="1"/>
          </p:cNvSpPr>
          <p:nvPr>
            <p:ph type="body" sz="quarter" idx="19" hasCustomPrompt="1"/>
          </p:nvPr>
        </p:nvSpPr>
        <p:spPr>
          <a:xfrm>
            <a:off x="10464865" y="957488"/>
            <a:ext cx="528104" cy="528058"/>
          </a:xfrm>
          <a:prstGeom prst="ellipse">
            <a:avLst/>
          </a:prstGeom>
          <a:solidFill>
            <a:schemeClr val="accent4">
              <a:alpha val="80000"/>
            </a:schemeClr>
          </a:solidFill>
        </p:spPr>
        <p:txBody>
          <a:bodyPr/>
          <a:lstStyle/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62189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6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5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6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5" presetClass="entr" presetSubtype="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6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5" presetClass="entr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6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6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5" presetClass="entr" presetSubtype="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6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5" presetClass="entr" presetSubtype="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6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75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250"/>
                            </p:stCondLst>
                            <p:childTnLst>
                              <p:par>
                                <p:cTn id="67" presetID="2" presetClass="entr" presetSubtype="6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>
        <p:tmplLst>
          <p:tmpl>
            <p:tnLst>
              <p:par>
                <p:cTn presetID="2" presetClass="entr" presetSubtype="6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0" animBg="1">
        <p:tmplLst>
          <p:tmpl>
            <p:tnLst>
              <p:par>
                <p:cTn presetID="2" presetClass="entr" presetSubtype="6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7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0" animBg="1">
        <p:tmplLst>
          <p:tmpl>
            <p:tnLst>
              <p:par>
                <p:cTn presetID="2" presetClass="entr" presetSubtype="6" decel="10000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2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8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0" animBg="1">
        <p:tmplLst>
          <p:tmpl>
            <p:tnLst>
              <p:par>
                <p:cTn presetID="2" presetClass="entr" presetSubtype="6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2" presetClass="entr" presetSubtype="6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/>
      <p:bldP spid="14" grpId="0" build="p">
        <p:tmplLst>
          <p:tmpl lvl="1">
            <p:tnLst>
              <p:par>
                <p:cTn presetID="2" presetClass="entr" presetSubtype="6" decel="100000" fill="hold" nodeType="afterEffect">
                  <p:stCondLst>
                    <p:cond delay="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animBg="1">
        <p:tmplLst>
          <p:tmpl>
            <p:tnLst>
              <p:par>
                <p:cTn presetID="2" presetClass="entr" presetSubtype="6" decel="10000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4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6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1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1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0" animBg="1">
        <p:tmplLst>
          <p:tmpl>
            <p:tnLst>
              <p:par>
                <p:cTn presetID="2" presetClass="entr" presetSubtype="6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7" grpId="1" animBg="1">
        <p:tmplLst>
          <p:tmpl>
            <p:tnLst>
              <p:par>
                <p:cTn presetID="45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7"/>
                        </p:tgtEl>
                      </p:cBhvr>
                    </p:animEffect>
                    <p:anim calcmode="lin" valueType="num">
                      <p:cBhvr>
                        <p:cTn dur="750" fill="hold"/>
                        <p:tgtEl>
                          <p:spTgt spid="1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750" fill="hold"/>
                        <p:tgtEl>
                          <p:spTgt spid="1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円/楕円 32"/>
          <p:cNvSpPr/>
          <p:nvPr userDrawn="1"/>
        </p:nvSpPr>
        <p:spPr>
          <a:xfrm>
            <a:off x="4067009" y="3115088"/>
            <a:ext cx="541352" cy="54130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>
              <a:solidFill>
                <a:schemeClr val="accent2"/>
              </a:solidFill>
            </a:endParaRPr>
          </a:p>
        </p:txBody>
      </p:sp>
      <p:sp>
        <p:nvSpPr>
          <p:cNvPr id="6" name="円/楕円 5"/>
          <p:cNvSpPr/>
          <p:nvPr userDrawn="1"/>
        </p:nvSpPr>
        <p:spPr>
          <a:xfrm>
            <a:off x="1247041" y="775461"/>
            <a:ext cx="3373912" cy="3373619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8" name="円/楕円 27"/>
          <p:cNvSpPr/>
          <p:nvPr userDrawn="1"/>
        </p:nvSpPr>
        <p:spPr>
          <a:xfrm>
            <a:off x="845583" y="1170730"/>
            <a:ext cx="912180" cy="9121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30" name="円/楕円 29"/>
          <p:cNvSpPr/>
          <p:nvPr userDrawn="1"/>
        </p:nvSpPr>
        <p:spPr>
          <a:xfrm>
            <a:off x="1137774" y="692697"/>
            <a:ext cx="3373912" cy="337361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" name="タイトル 1"/>
          <p:cNvSpPr>
            <a:spLocks noGrp="1"/>
          </p:cNvSpPr>
          <p:nvPr>
            <p:ph type="title" hasCustomPrompt="1"/>
          </p:nvPr>
        </p:nvSpPr>
        <p:spPr>
          <a:xfrm>
            <a:off x="5031040" y="740702"/>
            <a:ext cx="6385263" cy="900605"/>
          </a:xfrm>
        </p:spPr>
        <p:txBody>
          <a:bodyPr anchor="b">
            <a:normAutofit/>
          </a:bodyPr>
          <a:lstStyle>
            <a:lvl1pPr>
              <a:defRPr sz="4400" baseline="0">
                <a:solidFill>
                  <a:schemeClr val="tx2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4" name="正方形/長方形 3"/>
          <p:cNvSpPr/>
          <p:nvPr userDrawn="1"/>
        </p:nvSpPr>
        <p:spPr>
          <a:xfrm>
            <a:off x="5127059" y="1651456"/>
            <a:ext cx="2160427" cy="4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5" name="テキスト プレースホルダー 6"/>
          <p:cNvSpPr>
            <a:spLocks noGrp="1"/>
          </p:cNvSpPr>
          <p:nvPr>
            <p:ph type="body" sz="quarter" idx="16" hasCustomPrompt="1"/>
          </p:nvPr>
        </p:nvSpPr>
        <p:spPr>
          <a:xfrm>
            <a:off x="5031040" y="1699902"/>
            <a:ext cx="6385263" cy="623628"/>
          </a:xfrm>
        </p:spPr>
        <p:txBody>
          <a:bodyPr anchor="t">
            <a:noAutofit/>
          </a:bodyPr>
          <a:lstStyle>
            <a:lvl1pPr algn="l">
              <a:defRPr sz="2133" i="1" baseline="0">
                <a:solidFill>
                  <a:schemeClr val="accent1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7" name="図プレースホルダー 5"/>
          <p:cNvSpPr>
            <a:spLocks noGrp="1"/>
          </p:cNvSpPr>
          <p:nvPr>
            <p:ph type="pic" sz="quarter" idx="13" hasCustomPrompt="1"/>
          </p:nvPr>
        </p:nvSpPr>
        <p:spPr>
          <a:xfrm>
            <a:off x="1247041" y="775461"/>
            <a:ext cx="3277893" cy="3277609"/>
          </a:xfrm>
          <a:prstGeom prst="ellipse">
            <a:avLst/>
          </a:prstGeom>
          <a:solidFill>
            <a:schemeClr val="bg1"/>
          </a:solidFill>
          <a:ln w="28575" cmpd="sng">
            <a:solidFill>
              <a:schemeClr val="accent1"/>
            </a:solidFill>
          </a:ln>
          <a:effectLst/>
        </p:spPr>
        <p:txBody>
          <a:bodyPr>
            <a:normAutofit/>
          </a:bodyPr>
          <a:lstStyle>
            <a:lvl1pPr>
              <a:defRPr sz="1200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5403649" y="2559169"/>
            <a:ext cx="864172" cy="86409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9" name="図プレースホルダー 12"/>
          <p:cNvSpPr>
            <a:spLocks noGrp="1"/>
          </p:cNvSpPr>
          <p:nvPr>
            <p:ph type="pic" sz="quarter" idx="17" hasCustomPrompt="1"/>
          </p:nvPr>
        </p:nvSpPr>
        <p:spPr>
          <a:xfrm>
            <a:off x="5627320" y="2782820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Icon</a:t>
            </a:r>
            <a:endParaRPr kumimoji="1" lang="ja-JP" altLang="en-US" dirty="0"/>
          </a:p>
        </p:txBody>
      </p:sp>
      <p:sp>
        <p:nvSpPr>
          <p:cNvPr id="10" name="円/楕円 9"/>
          <p:cNvSpPr/>
          <p:nvPr userDrawn="1"/>
        </p:nvSpPr>
        <p:spPr>
          <a:xfrm>
            <a:off x="7147592" y="2559168"/>
            <a:ext cx="864172" cy="86409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1" name="円/楕円 10"/>
          <p:cNvSpPr/>
          <p:nvPr userDrawn="1"/>
        </p:nvSpPr>
        <p:spPr>
          <a:xfrm>
            <a:off x="8880551" y="2559168"/>
            <a:ext cx="864172" cy="86409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2" name="図プレースホルダー 12"/>
          <p:cNvSpPr>
            <a:spLocks noGrp="1"/>
          </p:cNvSpPr>
          <p:nvPr>
            <p:ph type="pic" sz="quarter" idx="18" hasCustomPrompt="1"/>
          </p:nvPr>
        </p:nvSpPr>
        <p:spPr>
          <a:xfrm>
            <a:off x="7371263" y="2782820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Icon</a:t>
            </a:r>
            <a:endParaRPr kumimoji="1" lang="ja-JP" altLang="en-US" dirty="0"/>
          </a:p>
        </p:txBody>
      </p:sp>
      <p:sp>
        <p:nvSpPr>
          <p:cNvPr id="13" name="図プレースホルダー 12"/>
          <p:cNvSpPr>
            <a:spLocks noGrp="1"/>
          </p:cNvSpPr>
          <p:nvPr>
            <p:ph type="pic" sz="quarter" idx="19" hasCustomPrompt="1"/>
          </p:nvPr>
        </p:nvSpPr>
        <p:spPr>
          <a:xfrm>
            <a:off x="9104222" y="2782819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Icon</a:t>
            </a:r>
            <a:endParaRPr kumimoji="1" lang="ja-JP" altLang="en-US" dirty="0"/>
          </a:p>
        </p:txBody>
      </p:sp>
      <p:sp>
        <p:nvSpPr>
          <p:cNvPr id="14" name="テキスト プレースホルダー 6"/>
          <p:cNvSpPr>
            <a:spLocks noGrp="1"/>
          </p:cNvSpPr>
          <p:nvPr>
            <p:ph type="body" sz="quarter" idx="20" hasCustomPrompt="1"/>
          </p:nvPr>
        </p:nvSpPr>
        <p:spPr>
          <a:xfrm>
            <a:off x="5028323" y="3519717"/>
            <a:ext cx="1632323" cy="623628"/>
          </a:xfrm>
        </p:spPr>
        <p:txBody>
          <a:bodyPr anchor="t">
            <a:noAutofit/>
          </a:bodyPr>
          <a:lstStyle>
            <a:lvl1pPr algn="ctr">
              <a:defRPr sz="1600" i="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5" name="テキスト プレースホルダー 6"/>
          <p:cNvSpPr>
            <a:spLocks noGrp="1"/>
          </p:cNvSpPr>
          <p:nvPr>
            <p:ph type="body" sz="quarter" idx="21" hasCustomPrompt="1"/>
          </p:nvPr>
        </p:nvSpPr>
        <p:spPr>
          <a:xfrm>
            <a:off x="6768133" y="3519717"/>
            <a:ext cx="1632323" cy="623628"/>
          </a:xfrm>
        </p:spPr>
        <p:txBody>
          <a:bodyPr anchor="t">
            <a:noAutofit/>
          </a:bodyPr>
          <a:lstStyle>
            <a:lvl1pPr algn="ctr">
              <a:defRPr sz="1600" i="0" baseline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6" name="テキスト プレースホルダー 6"/>
          <p:cNvSpPr>
            <a:spLocks noGrp="1"/>
          </p:cNvSpPr>
          <p:nvPr>
            <p:ph type="body" sz="quarter" idx="22" hasCustomPrompt="1"/>
          </p:nvPr>
        </p:nvSpPr>
        <p:spPr>
          <a:xfrm>
            <a:off x="8496475" y="3518153"/>
            <a:ext cx="1632323" cy="623628"/>
          </a:xfrm>
        </p:spPr>
        <p:txBody>
          <a:bodyPr anchor="t">
            <a:noAutofit/>
          </a:bodyPr>
          <a:lstStyle>
            <a:lvl1pPr algn="ctr">
              <a:defRPr sz="1600" i="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7" name="テキスト プレースホルダー 6"/>
          <p:cNvSpPr>
            <a:spLocks noGrp="1"/>
          </p:cNvSpPr>
          <p:nvPr>
            <p:ph type="body" sz="quarter" idx="14" hasCustomPrompt="1"/>
          </p:nvPr>
        </p:nvSpPr>
        <p:spPr>
          <a:xfrm>
            <a:off x="795326" y="4197086"/>
            <a:ext cx="10601349" cy="1344149"/>
          </a:xfrm>
        </p:spPr>
        <p:txBody>
          <a:bodyPr anchor="ctr">
            <a:normAutofit/>
          </a:bodyPr>
          <a:lstStyle>
            <a:lvl1pPr algn="l">
              <a:defRPr sz="1333" baseline="0">
                <a:solidFill>
                  <a:schemeClr val="tx2"/>
                </a:solidFill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8" name="正方形/長方形 17"/>
          <p:cNvSpPr/>
          <p:nvPr userDrawn="1"/>
        </p:nvSpPr>
        <p:spPr>
          <a:xfrm>
            <a:off x="0" y="5685251"/>
            <a:ext cx="12192000" cy="117274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9" name="図プレースホルダー 12"/>
          <p:cNvSpPr>
            <a:spLocks noGrp="1"/>
          </p:cNvSpPr>
          <p:nvPr>
            <p:ph type="pic" sz="quarter" idx="23" hasCustomPrompt="1"/>
          </p:nvPr>
        </p:nvSpPr>
        <p:spPr>
          <a:xfrm>
            <a:off x="2677571" y="5848760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Icon</a:t>
            </a:r>
            <a:endParaRPr kumimoji="1" lang="ja-JP" altLang="en-US" dirty="0"/>
          </a:p>
        </p:txBody>
      </p:sp>
      <p:sp>
        <p:nvSpPr>
          <p:cNvPr id="20" name="図プレースホルダー 12"/>
          <p:cNvSpPr>
            <a:spLocks noGrp="1"/>
          </p:cNvSpPr>
          <p:nvPr>
            <p:ph type="pic" sz="quarter" idx="24" hasCustomPrompt="1"/>
          </p:nvPr>
        </p:nvSpPr>
        <p:spPr>
          <a:xfrm>
            <a:off x="5885323" y="5848760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Icon</a:t>
            </a:r>
            <a:endParaRPr kumimoji="1" lang="ja-JP" altLang="en-US" dirty="0"/>
          </a:p>
        </p:txBody>
      </p:sp>
      <p:sp>
        <p:nvSpPr>
          <p:cNvPr id="21" name="図プレースホルダー 12"/>
          <p:cNvSpPr>
            <a:spLocks noGrp="1"/>
          </p:cNvSpPr>
          <p:nvPr>
            <p:ph type="pic" sz="quarter" idx="25" hasCustomPrompt="1"/>
          </p:nvPr>
        </p:nvSpPr>
        <p:spPr>
          <a:xfrm>
            <a:off x="9072640" y="5848759"/>
            <a:ext cx="416830" cy="416794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Icon</a:t>
            </a:r>
            <a:endParaRPr kumimoji="1" lang="ja-JP" altLang="en-US" dirty="0"/>
          </a:p>
        </p:txBody>
      </p:sp>
      <p:sp>
        <p:nvSpPr>
          <p:cNvPr id="22" name="テキスト プレースホルダー 6"/>
          <p:cNvSpPr>
            <a:spLocks noGrp="1"/>
          </p:cNvSpPr>
          <p:nvPr>
            <p:ph type="body" sz="quarter" idx="26" hasCustomPrompt="1"/>
          </p:nvPr>
        </p:nvSpPr>
        <p:spPr>
          <a:xfrm>
            <a:off x="1589730" y="6309762"/>
            <a:ext cx="2633899" cy="383601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23" name="テキスト プレースホルダー 6"/>
          <p:cNvSpPr>
            <a:spLocks noGrp="1"/>
          </p:cNvSpPr>
          <p:nvPr>
            <p:ph type="body" sz="quarter" idx="27" hasCustomPrompt="1"/>
          </p:nvPr>
        </p:nvSpPr>
        <p:spPr>
          <a:xfrm>
            <a:off x="4776788" y="6309762"/>
            <a:ext cx="2633899" cy="383601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24" name="テキスト プレースホルダー 6"/>
          <p:cNvSpPr>
            <a:spLocks noGrp="1"/>
          </p:cNvSpPr>
          <p:nvPr>
            <p:ph type="body" sz="quarter" idx="28" hasCustomPrompt="1"/>
          </p:nvPr>
        </p:nvSpPr>
        <p:spPr>
          <a:xfrm>
            <a:off x="7974994" y="6309762"/>
            <a:ext cx="2633899" cy="383601"/>
          </a:xfrm>
        </p:spPr>
        <p:txBody>
          <a:bodyPr anchor="t">
            <a:noAutofit/>
          </a:bodyPr>
          <a:lstStyle>
            <a:lvl1pPr algn="ctr">
              <a:defRPr sz="1200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25" name="円/楕円 24"/>
          <p:cNvSpPr/>
          <p:nvPr userDrawn="1"/>
        </p:nvSpPr>
        <p:spPr>
          <a:xfrm>
            <a:off x="382869" y="679450"/>
            <a:ext cx="576114" cy="5760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26" name="円/楕円 25"/>
          <p:cNvSpPr/>
          <p:nvPr userDrawn="1"/>
        </p:nvSpPr>
        <p:spPr>
          <a:xfrm>
            <a:off x="1301673" y="711321"/>
            <a:ext cx="288057" cy="28803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32" name="正方形/長方形 31"/>
          <p:cNvSpPr/>
          <p:nvPr userDrawn="1"/>
        </p:nvSpPr>
        <p:spPr>
          <a:xfrm>
            <a:off x="0" y="0"/>
            <a:ext cx="12192000" cy="74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4" name="円/楕円 33"/>
          <p:cNvSpPr/>
          <p:nvPr userDrawn="1"/>
        </p:nvSpPr>
        <p:spPr>
          <a:xfrm>
            <a:off x="4735518" y="2858988"/>
            <a:ext cx="324692" cy="32466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952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2" presetClass="entr" presetSubtype="12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45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12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5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12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5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2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5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12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" presetClass="entr" presetSubtype="1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" presetClass="entr" presetSubtype="1" decel="10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" presetClass="entr" presetSubtype="1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600"/>
                            </p:stCondLst>
                            <p:childTnLst>
                              <p:par>
                                <p:cTn id="72" presetID="2" presetClass="entr" presetSubtype="3" decel="100000" fill="hold" grpId="0" nodeType="afterEffect">
                                  <p:stCondLst>
                                    <p:cond delay="2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2450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3500"/>
                            </p:stCondLst>
                            <p:childTnLst>
                              <p:par>
                                <p:cTn id="8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4000"/>
                            </p:stCondLst>
                            <p:childTnLst>
                              <p:par>
                                <p:cTn id="10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1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5000"/>
                            </p:stCondLst>
                            <p:childTnLst>
                              <p:par>
                                <p:cTn id="133" presetID="2" presetClass="entr" presetSubtype="8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75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6000"/>
                            </p:stCondLst>
                            <p:childTnLst>
                              <p:par>
                                <p:cTn id="138" presetID="16" presetClass="entr" presetSubtype="37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1" fill="hold">
                            <p:stCondLst>
                              <p:cond delay="6750"/>
                            </p:stCondLst>
                            <p:childTnLst>
                              <p:par>
                                <p:cTn id="1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7250"/>
                            </p:stCondLst>
                            <p:childTnLst>
                              <p:par>
                                <p:cTn id="1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7750"/>
                            </p:stCondLst>
                            <p:childTnLst>
                              <p:par>
                                <p:cTn id="1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3" grpId="1" animBg="1"/>
      <p:bldP spid="6" grpId="0" animBg="1"/>
      <p:bldP spid="6" grpId="1" animBg="1"/>
      <p:bldP spid="28" grpId="0" animBg="1"/>
      <p:bldP spid="28" grpId="1" animBg="1"/>
      <p:bldP spid="30" grpId="0" animBg="1"/>
      <p:bldP spid="30" grpId="1" animBg="1"/>
      <p:bldP spid="3" grpId="0"/>
      <p:bldP spid="4" grpId="0" animBg="1"/>
      <p:bldP spid="5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animBg="1"/>
      <p:bldP spid="7" grpId="1" animBg="1"/>
      <p:bldP spid="8" grpId="0" animBg="1"/>
      <p:bldP spid="9" grpId="0"/>
      <p:bldP spid="10" grpId="0" animBg="1"/>
      <p:bldP spid="11" grpId="0" animBg="1"/>
      <p:bldP spid="12" grpId="0"/>
      <p:bldP spid="13" grpId="0"/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" presetClass="entr" presetSubtype="8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1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animBg="1"/>
      <p:bldP spid="19" grpId="0"/>
      <p:bldP spid="20" grpId="0"/>
      <p:bldP spid="21" grpId="0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5" grpId="1" animBg="1"/>
      <p:bldP spid="26" grpId="0" animBg="1"/>
      <p:bldP spid="26" grpId="1" animBg="1"/>
      <p:bldP spid="34" grpId="0" animBg="1"/>
      <p:bldP spid="34" grpId="1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Images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図プレースホルダー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744951" cy="17136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6" name="図プレースホルダー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715400"/>
            <a:ext cx="1744951" cy="1713600"/>
          </a:xfrm>
          <a:solidFill>
            <a:schemeClr val="accent4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5" name="図プレースホルダー 3"/>
          <p:cNvSpPr>
            <a:spLocks noGrp="1"/>
          </p:cNvSpPr>
          <p:nvPr>
            <p:ph type="pic" sz="quarter" idx="11" hasCustomPrompt="1"/>
          </p:nvPr>
        </p:nvSpPr>
        <p:spPr>
          <a:xfrm>
            <a:off x="1742999" y="0"/>
            <a:ext cx="1744951" cy="1713600"/>
          </a:xfrm>
          <a:solidFill>
            <a:schemeClr val="accent6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8" name="図プレースホルダー 3"/>
          <p:cNvSpPr>
            <a:spLocks noGrp="1"/>
          </p:cNvSpPr>
          <p:nvPr>
            <p:ph type="pic" sz="quarter" idx="14" hasCustomPrompt="1"/>
          </p:nvPr>
        </p:nvSpPr>
        <p:spPr>
          <a:xfrm>
            <a:off x="1742999" y="1715400"/>
            <a:ext cx="1744951" cy="1713600"/>
          </a:xfrm>
          <a:solidFill>
            <a:schemeClr val="accent2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3" name="図プレースホルダー 3"/>
          <p:cNvSpPr>
            <a:spLocks noGrp="1"/>
          </p:cNvSpPr>
          <p:nvPr>
            <p:ph type="pic" sz="quarter" idx="15" hasCustomPrompt="1"/>
          </p:nvPr>
        </p:nvSpPr>
        <p:spPr>
          <a:xfrm>
            <a:off x="3482973" y="0"/>
            <a:ext cx="1744951" cy="1713600"/>
          </a:xfrm>
          <a:solidFill>
            <a:schemeClr val="accent3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15" name="図プレースホルダー 3"/>
          <p:cNvSpPr>
            <a:spLocks noGrp="1"/>
          </p:cNvSpPr>
          <p:nvPr>
            <p:ph type="pic" sz="quarter" idx="17" hasCustomPrompt="1"/>
          </p:nvPr>
        </p:nvSpPr>
        <p:spPr>
          <a:xfrm>
            <a:off x="3482973" y="1715400"/>
            <a:ext cx="1744951" cy="1713600"/>
          </a:xfrm>
          <a:solidFill>
            <a:schemeClr val="accent5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5" name="図プレースホルダー 3"/>
          <p:cNvSpPr>
            <a:spLocks noGrp="1"/>
          </p:cNvSpPr>
          <p:nvPr>
            <p:ph type="pic" sz="quarter" idx="27" hasCustomPrompt="1"/>
          </p:nvPr>
        </p:nvSpPr>
        <p:spPr>
          <a:xfrm>
            <a:off x="3482973" y="3429000"/>
            <a:ext cx="1744951" cy="1713600"/>
          </a:xfrm>
          <a:solidFill>
            <a:schemeClr val="accent4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27" name="図プレースホルダー 3"/>
          <p:cNvSpPr>
            <a:spLocks noGrp="1"/>
          </p:cNvSpPr>
          <p:nvPr>
            <p:ph type="pic" sz="quarter" idx="29" hasCustomPrompt="1"/>
          </p:nvPr>
        </p:nvSpPr>
        <p:spPr>
          <a:xfrm>
            <a:off x="3482973" y="5144400"/>
            <a:ext cx="1744951" cy="1713600"/>
          </a:xfrm>
          <a:solidFill>
            <a:schemeClr val="accent2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8" name="図プレースホルダー 3"/>
          <p:cNvSpPr>
            <a:spLocks noGrp="1"/>
          </p:cNvSpPr>
          <p:nvPr>
            <p:ph type="pic" sz="quarter" idx="30" hasCustomPrompt="1"/>
          </p:nvPr>
        </p:nvSpPr>
        <p:spPr>
          <a:xfrm>
            <a:off x="5222947" y="5144400"/>
            <a:ext cx="1744951" cy="1713600"/>
          </a:xfrm>
          <a:solidFill>
            <a:schemeClr val="accent5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31" name="図プレースホルダー 3"/>
          <p:cNvSpPr>
            <a:spLocks noGrp="1"/>
          </p:cNvSpPr>
          <p:nvPr>
            <p:ph type="pic" sz="quarter" idx="33" hasCustomPrompt="1"/>
          </p:nvPr>
        </p:nvSpPr>
        <p:spPr>
          <a:xfrm>
            <a:off x="6962922" y="5144400"/>
            <a:ext cx="1744951" cy="1713600"/>
          </a:xfrm>
          <a:solidFill>
            <a:schemeClr val="accent4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8" name="図プレースホルダー 3"/>
          <p:cNvSpPr>
            <a:spLocks noGrp="1"/>
          </p:cNvSpPr>
          <p:nvPr>
            <p:ph type="pic" sz="quarter" idx="20" hasCustomPrompt="1"/>
          </p:nvPr>
        </p:nvSpPr>
        <p:spPr>
          <a:xfrm>
            <a:off x="8702896" y="0"/>
            <a:ext cx="1744951" cy="1713600"/>
          </a:xfrm>
          <a:solidFill>
            <a:schemeClr val="accent3">
              <a:lumMod val="7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0" name="図プレースホルダー 3"/>
          <p:cNvSpPr>
            <a:spLocks noGrp="1"/>
          </p:cNvSpPr>
          <p:nvPr>
            <p:ph type="pic" sz="quarter" idx="22" hasCustomPrompt="1"/>
          </p:nvPr>
        </p:nvSpPr>
        <p:spPr>
          <a:xfrm>
            <a:off x="8702896" y="1715400"/>
            <a:ext cx="1744951" cy="1713600"/>
          </a:xfrm>
          <a:solidFill>
            <a:schemeClr val="accent3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32" name="図プレースホルダー 3"/>
          <p:cNvSpPr>
            <a:spLocks noGrp="1"/>
          </p:cNvSpPr>
          <p:nvPr>
            <p:ph type="pic" sz="quarter" idx="34" hasCustomPrompt="1"/>
          </p:nvPr>
        </p:nvSpPr>
        <p:spPr>
          <a:xfrm>
            <a:off x="8702896" y="5144400"/>
            <a:ext cx="1744951" cy="17136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37" name="図プレースホルダー 3"/>
          <p:cNvSpPr>
            <a:spLocks noGrp="1"/>
          </p:cNvSpPr>
          <p:nvPr>
            <p:ph type="pic" sz="quarter" idx="35" hasCustomPrompt="1"/>
          </p:nvPr>
        </p:nvSpPr>
        <p:spPr>
          <a:xfrm>
            <a:off x="10442872" y="0"/>
            <a:ext cx="1744951" cy="1713600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38" name="図プレースホルダー 3"/>
          <p:cNvSpPr>
            <a:spLocks noGrp="1"/>
          </p:cNvSpPr>
          <p:nvPr>
            <p:ph type="pic" sz="quarter" idx="36" hasCustomPrompt="1"/>
          </p:nvPr>
        </p:nvSpPr>
        <p:spPr>
          <a:xfrm>
            <a:off x="10442872" y="1715400"/>
            <a:ext cx="1744951" cy="17136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40" name="図プレースホルダー 3"/>
          <p:cNvSpPr>
            <a:spLocks noGrp="1"/>
          </p:cNvSpPr>
          <p:nvPr>
            <p:ph type="pic" sz="quarter" idx="38" hasCustomPrompt="1"/>
          </p:nvPr>
        </p:nvSpPr>
        <p:spPr>
          <a:xfrm>
            <a:off x="10442872" y="5144400"/>
            <a:ext cx="1744951" cy="1713600"/>
          </a:xfrm>
          <a:solidFill>
            <a:schemeClr val="accent2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70" name="図プレースホルダー 69"/>
          <p:cNvSpPr>
            <a:spLocks noGrp="1"/>
          </p:cNvSpPr>
          <p:nvPr>
            <p:ph type="pic" sz="quarter" idx="39" hasCustomPrompt="1"/>
          </p:nvPr>
        </p:nvSpPr>
        <p:spPr>
          <a:xfrm>
            <a:off x="1" y="3429000"/>
            <a:ext cx="3482702" cy="3429000"/>
          </a:xfrm>
          <a:solidFill>
            <a:schemeClr val="accent1">
              <a:lumMod val="60000"/>
              <a:lumOff val="4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kumimoji="1" lang="en-US" altLang="ja-JP" dirty="0"/>
              <a:t>Add an image </a:t>
            </a:r>
            <a:endParaRPr kumimoji="1" lang="ja-JP" altLang="en-US" dirty="0"/>
          </a:p>
        </p:txBody>
      </p:sp>
      <p:sp>
        <p:nvSpPr>
          <p:cNvPr id="71" name="図プレースホルダー 69"/>
          <p:cNvSpPr>
            <a:spLocks noGrp="1"/>
          </p:cNvSpPr>
          <p:nvPr>
            <p:ph type="pic" sz="quarter" idx="40" hasCustomPrompt="1"/>
          </p:nvPr>
        </p:nvSpPr>
        <p:spPr>
          <a:xfrm>
            <a:off x="5222947" y="0"/>
            <a:ext cx="3482702" cy="3429000"/>
          </a:xfrm>
          <a:solidFill>
            <a:schemeClr val="accent2">
              <a:lumMod val="60000"/>
              <a:lumOff val="4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kumimoji="1" lang="en-US" altLang="ja-JP" dirty="0"/>
              <a:t>add an image </a:t>
            </a:r>
            <a:endParaRPr kumimoji="1" lang="ja-JP" altLang="en-US" dirty="0"/>
          </a:p>
        </p:txBody>
      </p:sp>
      <p:sp>
        <p:nvSpPr>
          <p:cNvPr id="77" name="タイトル 1"/>
          <p:cNvSpPr>
            <a:spLocks noGrp="1"/>
          </p:cNvSpPr>
          <p:nvPr>
            <p:ph type="title" hasCustomPrompt="1"/>
          </p:nvPr>
        </p:nvSpPr>
        <p:spPr>
          <a:xfrm>
            <a:off x="5485861" y="3498416"/>
            <a:ext cx="6385263" cy="900605"/>
          </a:xfrm>
        </p:spPr>
        <p:txBody>
          <a:bodyPr anchor="b">
            <a:normAutofit/>
          </a:bodyPr>
          <a:lstStyle>
            <a:lvl1pPr>
              <a:defRPr sz="4400" baseline="0">
                <a:solidFill>
                  <a:schemeClr val="bg1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78" name="正方形/長方形 77"/>
          <p:cNvSpPr/>
          <p:nvPr userDrawn="1"/>
        </p:nvSpPr>
        <p:spPr>
          <a:xfrm>
            <a:off x="5581880" y="4409170"/>
            <a:ext cx="2160427" cy="4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79" name="テキスト プレースホルダー 6"/>
          <p:cNvSpPr>
            <a:spLocks noGrp="1"/>
          </p:cNvSpPr>
          <p:nvPr>
            <p:ph type="body" sz="quarter" idx="16" hasCustomPrompt="1"/>
          </p:nvPr>
        </p:nvSpPr>
        <p:spPr>
          <a:xfrm>
            <a:off x="5485861" y="4457617"/>
            <a:ext cx="6385263" cy="623628"/>
          </a:xfrm>
        </p:spPr>
        <p:txBody>
          <a:bodyPr anchor="t">
            <a:noAutofit/>
          </a:bodyPr>
          <a:lstStyle>
            <a:lvl1pPr algn="l">
              <a:defRPr sz="2133" i="1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70194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4" presetClass="entr" presetSubtype="1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4" presetClass="entr" presetSubtype="1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4" presetClass="entr" presetSubtype="1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4" presetClass="entr" presetSubtype="1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4" presetClass="entr" presetSubtype="1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4" presetClass="entr" presetSubtype="1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4" presetClass="entr" presetSubtype="1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4" presetClass="entr" presetSubtype="1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4" presetClass="entr" presetSubtype="1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200"/>
                            </p:stCondLst>
                            <p:childTnLst>
                              <p:par>
                                <p:cTn id="60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8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5" grpId="0" animBg="1"/>
      <p:bldP spid="8" grpId="0" animBg="1"/>
      <p:bldP spid="13" grpId="0" animBg="1"/>
      <p:bldP spid="15" grpId="0" animBg="1"/>
      <p:bldP spid="25" grpId="0" animBg="1"/>
      <p:bldP spid="27" grpId="0" animBg="1"/>
      <p:bldP spid="28" grpId="0" animBg="1"/>
      <p:bldP spid="31" grpId="0" animBg="1"/>
      <p:bldP spid="18" grpId="0" animBg="1"/>
      <p:bldP spid="20" grpId="0" animBg="1"/>
      <p:bldP spid="32" grpId="0" animBg="1"/>
      <p:bldP spid="37" grpId="0" animBg="1"/>
      <p:bldP spid="38" grpId="0" animBg="1"/>
      <p:bldP spid="40" grpId="0" animBg="1"/>
      <p:bldP spid="70" grpId="0" animBg="1"/>
      <p:bldP spid="71" grpId="0" animBg="1"/>
      <p:bldP spid="77" grpId="0"/>
      <p:bldP spid="78" grpId="0" animBg="1"/>
      <p:bldP spid="79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7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図プレースホルダー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744951" cy="17136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6" name="図プレースホルダー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715400"/>
            <a:ext cx="1744951" cy="1713600"/>
          </a:xfrm>
          <a:solidFill>
            <a:schemeClr val="accent4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1" name="図プレースホルダー 3"/>
          <p:cNvSpPr>
            <a:spLocks noGrp="1"/>
          </p:cNvSpPr>
          <p:nvPr>
            <p:ph type="pic" sz="quarter" idx="23" hasCustomPrompt="1"/>
          </p:nvPr>
        </p:nvSpPr>
        <p:spPr>
          <a:xfrm>
            <a:off x="0" y="3429000"/>
            <a:ext cx="1744951" cy="17136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23" name="図プレースホルダー 3"/>
          <p:cNvSpPr>
            <a:spLocks noGrp="1"/>
          </p:cNvSpPr>
          <p:nvPr>
            <p:ph type="pic" sz="quarter" idx="25" hasCustomPrompt="1"/>
          </p:nvPr>
        </p:nvSpPr>
        <p:spPr>
          <a:xfrm>
            <a:off x="0" y="5144400"/>
            <a:ext cx="1744951" cy="1713600"/>
          </a:xfrm>
          <a:solidFill>
            <a:schemeClr val="accent5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5" name="図プレースホルダー 3"/>
          <p:cNvSpPr>
            <a:spLocks noGrp="1"/>
          </p:cNvSpPr>
          <p:nvPr>
            <p:ph type="pic" sz="quarter" idx="11" hasCustomPrompt="1"/>
          </p:nvPr>
        </p:nvSpPr>
        <p:spPr>
          <a:xfrm>
            <a:off x="1742999" y="0"/>
            <a:ext cx="1744951" cy="1713600"/>
          </a:xfrm>
          <a:solidFill>
            <a:schemeClr val="accent6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8" name="図プレースホルダー 3"/>
          <p:cNvSpPr>
            <a:spLocks noGrp="1"/>
          </p:cNvSpPr>
          <p:nvPr>
            <p:ph type="pic" sz="quarter" idx="14" hasCustomPrompt="1"/>
          </p:nvPr>
        </p:nvSpPr>
        <p:spPr>
          <a:xfrm>
            <a:off x="1742999" y="1715400"/>
            <a:ext cx="1744951" cy="1713600"/>
          </a:xfrm>
          <a:solidFill>
            <a:schemeClr val="accent2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2" name="図プレースホルダー 3"/>
          <p:cNvSpPr>
            <a:spLocks noGrp="1"/>
          </p:cNvSpPr>
          <p:nvPr>
            <p:ph type="pic" sz="quarter" idx="24" hasCustomPrompt="1"/>
          </p:nvPr>
        </p:nvSpPr>
        <p:spPr>
          <a:xfrm>
            <a:off x="1742999" y="3429000"/>
            <a:ext cx="1744951" cy="1713600"/>
          </a:xfrm>
          <a:solidFill>
            <a:schemeClr val="accent3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4" name="図プレースホルダー 3"/>
          <p:cNvSpPr>
            <a:spLocks noGrp="1"/>
          </p:cNvSpPr>
          <p:nvPr>
            <p:ph type="pic" sz="quarter" idx="26" hasCustomPrompt="1"/>
          </p:nvPr>
        </p:nvSpPr>
        <p:spPr>
          <a:xfrm>
            <a:off x="1742999" y="5144400"/>
            <a:ext cx="1744951" cy="1713600"/>
          </a:xfrm>
          <a:solidFill>
            <a:schemeClr val="accent4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3" name="図プレースホルダー 3"/>
          <p:cNvSpPr>
            <a:spLocks noGrp="1"/>
          </p:cNvSpPr>
          <p:nvPr>
            <p:ph type="pic" sz="quarter" idx="15" hasCustomPrompt="1"/>
          </p:nvPr>
        </p:nvSpPr>
        <p:spPr>
          <a:xfrm>
            <a:off x="3482973" y="0"/>
            <a:ext cx="1744951" cy="1713600"/>
          </a:xfrm>
          <a:solidFill>
            <a:schemeClr val="accent3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15" name="図プレースホルダー 3"/>
          <p:cNvSpPr>
            <a:spLocks noGrp="1"/>
          </p:cNvSpPr>
          <p:nvPr>
            <p:ph type="pic" sz="quarter" idx="17" hasCustomPrompt="1"/>
          </p:nvPr>
        </p:nvSpPr>
        <p:spPr>
          <a:xfrm>
            <a:off x="3482973" y="1715400"/>
            <a:ext cx="1744951" cy="1713600"/>
          </a:xfrm>
          <a:solidFill>
            <a:schemeClr val="accent5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5" name="図プレースホルダー 3"/>
          <p:cNvSpPr>
            <a:spLocks noGrp="1"/>
          </p:cNvSpPr>
          <p:nvPr>
            <p:ph type="pic" sz="quarter" idx="27" hasCustomPrompt="1"/>
          </p:nvPr>
        </p:nvSpPr>
        <p:spPr>
          <a:xfrm>
            <a:off x="3482973" y="3429000"/>
            <a:ext cx="1744951" cy="1713600"/>
          </a:xfrm>
          <a:solidFill>
            <a:schemeClr val="accent4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27" name="図プレースホルダー 3"/>
          <p:cNvSpPr>
            <a:spLocks noGrp="1"/>
          </p:cNvSpPr>
          <p:nvPr>
            <p:ph type="pic" sz="quarter" idx="29" hasCustomPrompt="1"/>
          </p:nvPr>
        </p:nvSpPr>
        <p:spPr>
          <a:xfrm>
            <a:off x="3482973" y="5144400"/>
            <a:ext cx="1744951" cy="1713600"/>
          </a:xfrm>
          <a:solidFill>
            <a:schemeClr val="accent2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4" name="図プレースホルダー 3"/>
          <p:cNvSpPr>
            <a:spLocks noGrp="1"/>
          </p:cNvSpPr>
          <p:nvPr>
            <p:ph type="pic" sz="quarter" idx="16" hasCustomPrompt="1"/>
          </p:nvPr>
        </p:nvSpPr>
        <p:spPr>
          <a:xfrm>
            <a:off x="5222947" y="0"/>
            <a:ext cx="1744951" cy="1713600"/>
          </a:xfrm>
          <a:solidFill>
            <a:schemeClr val="accent5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6" name="図プレースホルダー 3"/>
          <p:cNvSpPr>
            <a:spLocks noGrp="1"/>
          </p:cNvSpPr>
          <p:nvPr>
            <p:ph type="pic" sz="quarter" idx="18" hasCustomPrompt="1"/>
          </p:nvPr>
        </p:nvSpPr>
        <p:spPr>
          <a:xfrm>
            <a:off x="5222947" y="1715400"/>
            <a:ext cx="1744951" cy="1713600"/>
          </a:xfrm>
          <a:solidFill>
            <a:schemeClr val="accent2">
              <a:lumMod val="60000"/>
              <a:lumOff val="40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6" name="図プレースホルダー 3"/>
          <p:cNvSpPr>
            <a:spLocks noGrp="1"/>
          </p:cNvSpPr>
          <p:nvPr>
            <p:ph type="pic" sz="quarter" idx="28" hasCustomPrompt="1"/>
          </p:nvPr>
        </p:nvSpPr>
        <p:spPr>
          <a:xfrm>
            <a:off x="5222947" y="3429000"/>
            <a:ext cx="1744951" cy="1713600"/>
          </a:xfrm>
          <a:solidFill>
            <a:schemeClr val="accent3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8" name="図プレースホルダー 3"/>
          <p:cNvSpPr>
            <a:spLocks noGrp="1"/>
          </p:cNvSpPr>
          <p:nvPr>
            <p:ph type="pic" sz="quarter" idx="30" hasCustomPrompt="1"/>
          </p:nvPr>
        </p:nvSpPr>
        <p:spPr>
          <a:xfrm>
            <a:off x="5222947" y="5144400"/>
            <a:ext cx="1744951" cy="1713600"/>
          </a:xfrm>
          <a:solidFill>
            <a:schemeClr val="accent5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7" name="図プレースホルダー 3"/>
          <p:cNvSpPr>
            <a:spLocks noGrp="1"/>
          </p:cNvSpPr>
          <p:nvPr>
            <p:ph type="pic" sz="quarter" idx="19" hasCustomPrompt="1"/>
          </p:nvPr>
        </p:nvSpPr>
        <p:spPr>
          <a:xfrm>
            <a:off x="6962922" y="0"/>
            <a:ext cx="1744951" cy="17136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19" name="図プレースホルダー 3"/>
          <p:cNvSpPr>
            <a:spLocks noGrp="1"/>
          </p:cNvSpPr>
          <p:nvPr>
            <p:ph type="pic" sz="quarter" idx="21" hasCustomPrompt="1"/>
          </p:nvPr>
        </p:nvSpPr>
        <p:spPr>
          <a:xfrm>
            <a:off x="6962922" y="1715400"/>
            <a:ext cx="1744951" cy="1713600"/>
          </a:xfrm>
          <a:solidFill>
            <a:schemeClr val="accent2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9" name="図プレースホルダー 3"/>
          <p:cNvSpPr>
            <a:spLocks noGrp="1"/>
          </p:cNvSpPr>
          <p:nvPr>
            <p:ph type="pic" sz="quarter" idx="31" hasCustomPrompt="1"/>
          </p:nvPr>
        </p:nvSpPr>
        <p:spPr>
          <a:xfrm>
            <a:off x="6962922" y="3429000"/>
            <a:ext cx="1744951" cy="1713600"/>
          </a:xfrm>
          <a:solidFill>
            <a:schemeClr val="accent6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31" name="図プレースホルダー 3"/>
          <p:cNvSpPr>
            <a:spLocks noGrp="1"/>
          </p:cNvSpPr>
          <p:nvPr>
            <p:ph type="pic" sz="quarter" idx="33" hasCustomPrompt="1"/>
          </p:nvPr>
        </p:nvSpPr>
        <p:spPr>
          <a:xfrm>
            <a:off x="6962922" y="5144400"/>
            <a:ext cx="1744951" cy="1713600"/>
          </a:xfrm>
          <a:solidFill>
            <a:schemeClr val="accent4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8" name="図プレースホルダー 3"/>
          <p:cNvSpPr>
            <a:spLocks noGrp="1"/>
          </p:cNvSpPr>
          <p:nvPr>
            <p:ph type="pic" sz="quarter" idx="20" hasCustomPrompt="1"/>
          </p:nvPr>
        </p:nvSpPr>
        <p:spPr>
          <a:xfrm>
            <a:off x="8702896" y="0"/>
            <a:ext cx="1744951" cy="1713600"/>
          </a:xfrm>
          <a:solidFill>
            <a:schemeClr val="accent3">
              <a:lumMod val="7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20" name="図プレースホルダー 3"/>
          <p:cNvSpPr>
            <a:spLocks noGrp="1"/>
          </p:cNvSpPr>
          <p:nvPr>
            <p:ph type="pic" sz="quarter" idx="22" hasCustomPrompt="1"/>
          </p:nvPr>
        </p:nvSpPr>
        <p:spPr>
          <a:xfrm>
            <a:off x="8702896" y="1715400"/>
            <a:ext cx="1744951" cy="1713600"/>
          </a:xfrm>
          <a:solidFill>
            <a:schemeClr val="accent3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30" name="図プレースホルダー 3"/>
          <p:cNvSpPr>
            <a:spLocks noGrp="1"/>
          </p:cNvSpPr>
          <p:nvPr>
            <p:ph type="pic" sz="quarter" idx="32" hasCustomPrompt="1"/>
          </p:nvPr>
        </p:nvSpPr>
        <p:spPr>
          <a:xfrm>
            <a:off x="8702896" y="3429000"/>
            <a:ext cx="1744951" cy="1713600"/>
          </a:xfrm>
          <a:solidFill>
            <a:schemeClr val="accent5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32" name="図プレースホルダー 3"/>
          <p:cNvSpPr>
            <a:spLocks noGrp="1"/>
          </p:cNvSpPr>
          <p:nvPr>
            <p:ph type="pic" sz="quarter" idx="34" hasCustomPrompt="1"/>
          </p:nvPr>
        </p:nvSpPr>
        <p:spPr>
          <a:xfrm>
            <a:off x="8702896" y="5144400"/>
            <a:ext cx="1744951" cy="17136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37" name="図プレースホルダー 3"/>
          <p:cNvSpPr>
            <a:spLocks noGrp="1"/>
          </p:cNvSpPr>
          <p:nvPr>
            <p:ph type="pic" sz="quarter" idx="35" hasCustomPrompt="1"/>
          </p:nvPr>
        </p:nvSpPr>
        <p:spPr>
          <a:xfrm>
            <a:off x="10442872" y="0"/>
            <a:ext cx="1744951" cy="1713600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38" name="図プレースホルダー 3"/>
          <p:cNvSpPr>
            <a:spLocks noGrp="1"/>
          </p:cNvSpPr>
          <p:nvPr>
            <p:ph type="pic" sz="quarter" idx="36" hasCustomPrompt="1"/>
          </p:nvPr>
        </p:nvSpPr>
        <p:spPr>
          <a:xfrm>
            <a:off x="10442872" y="1715400"/>
            <a:ext cx="1744951" cy="1713600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39" name="図プレースホルダー 3"/>
          <p:cNvSpPr>
            <a:spLocks noGrp="1"/>
          </p:cNvSpPr>
          <p:nvPr>
            <p:ph type="pic" sz="quarter" idx="37" hasCustomPrompt="1"/>
          </p:nvPr>
        </p:nvSpPr>
        <p:spPr>
          <a:xfrm>
            <a:off x="10442872" y="3429000"/>
            <a:ext cx="1744951" cy="17136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1067"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40" name="図プレースホルダー 3"/>
          <p:cNvSpPr>
            <a:spLocks noGrp="1"/>
          </p:cNvSpPr>
          <p:nvPr>
            <p:ph type="pic" sz="quarter" idx="38" hasCustomPrompt="1"/>
          </p:nvPr>
        </p:nvSpPr>
        <p:spPr>
          <a:xfrm>
            <a:off x="10442872" y="5144400"/>
            <a:ext cx="1744951" cy="1713600"/>
          </a:xfrm>
          <a:solidFill>
            <a:schemeClr val="accent2"/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45318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Imag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円/楕円 18"/>
          <p:cNvSpPr/>
          <p:nvPr userDrawn="1"/>
        </p:nvSpPr>
        <p:spPr>
          <a:xfrm>
            <a:off x="10202367" y="4014138"/>
            <a:ext cx="541352" cy="54130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>
              <a:solidFill>
                <a:schemeClr val="accent2"/>
              </a:solidFill>
            </a:endParaRPr>
          </a:p>
        </p:txBody>
      </p:sp>
      <p:sp>
        <p:nvSpPr>
          <p:cNvPr id="20" name="円/楕円 19"/>
          <p:cNvSpPr/>
          <p:nvPr userDrawn="1"/>
        </p:nvSpPr>
        <p:spPr>
          <a:xfrm>
            <a:off x="1184136" y="2516899"/>
            <a:ext cx="912180" cy="91210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21" name="円/楕円 20"/>
          <p:cNvSpPr/>
          <p:nvPr userDrawn="1"/>
        </p:nvSpPr>
        <p:spPr>
          <a:xfrm>
            <a:off x="413027" y="2228867"/>
            <a:ext cx="576114" cy="5760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22" name="円/楕円 21"/>
          <p:cNvSpPr/>
          <p:nvPr userDrawn="1"/>
        </p:nvSpPr>
        <p:spPr>
          <a:xfrm>
            <a:off x="2386628" y="2690349"/>
            <a:ext cx="288057" cy="28803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23" name="円/楕円 22"/>
          <p:cNvSpPr/>
          <p:nvPr userDrawn="1"/>
        </p:nvSpPr>
        <p:spPr>
          <a:xfrm>
            <a:off x="10985753" y="3880494"/>
            <a:ext cx="324692" cy="32466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>
              <a:solidFill>
                <a:schemeClr val="accent2"/>
              </a:solidFill>
            </a:endParaRPr>
          </a:p>
        </p:txBody>
      </p:sp>
      <p:sp>
        <p:nvSpPr>
          <p:cNvPr id="4" name="図プレースホルダー 5"/>
          <p:cNvSpPr>
            <a:spLocks noGrp="1"/>
          </p:cNvSpPr>
          <p:nvPr>
            <p:ph type="pic" sz="quarter" idx="12" hasCustomPrompt="1"/>
          </p:nvPr>
        </p:nvSpPr>
        <p:spPr>
          <a:xfrm>
            <a:off x="25457" y="29028"/>
            <a:ext cx="2400208" cy="2400000"/>
          </a:xfrm>
          <a:solidFill>
            <a:schemeClr val="accent1"/>
          </a:solidFill>
        </p:spPr>
        <p:txBody>
          <a:bodyPr/>
          <a:lstStyle>
            <a:lvl1pPr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5" name="図プレースホルダー 5"/>
          <p:cNvSpPr>
            <a:spLocks noGrp="1"/>
          </p:cNvSpPr>
          <p:nvPr>
            <p:ph type="pic" sz="quarter" idx="13" hasCustomPrompt="1"/>
          </p:nvPr>
        </p:nvSpPr>
        <p:spPr>
          <a:xfrm>
            <a:off x="2458716" y="29028"/>
            <a:ext cx="2400208" cy="2400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marR="0" indent="0" algn="l" defTabSz="10885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6" name="図プレースホルダー 5"/>
          <p:cNvSpPr>
            <a:spLocks noGrp="1"/>
          </p:cNvSpPr>
          <p:nvPr>
            <p:ph type="pic" sz="quarter" idx="14" hasCustomPrompt="1"/>
          </p:nvPr>
        </p:nvSpPr>
        <p:spPr>
          <a:xfrm>
            <a:off x="4891974" y="29028"/>
            <a:ext cx="2400208" cy="2400000"/>
          </a:xfrm>
          <a:solidFill>
            <a:schemeClr val="accent2"/>
          </a:solidFill>
        </p:spPr>
        <p:txBody>
          <a:bodyPr>
            <a:normAutofit/>
          </a:bodyPr>
          <a:lstStyle>
            <a:lvl1pPr marL="0" marR="0" indent="0" algn="l" defTabSz="10885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7" name="図プレースホルダー 5"/>
          <p:cNvSpPr>
            <a:spLocks noGrp="1"/>
          </p:cNvSpPr>
          <p:nvPr>
            <p:ph type="pic" sz="quarter" idx="15" hasCustomPrompt="1"/>
          </p:nvPr>
        </p:nvSpPr>
        <p:spPr>
          <a:xfrm>
            <a:off x="7326093" y="29028"/>
            <a:ext cx="2400208" cy="2400000"/>
          </a:xfrm>
          <a:solidFill>
            <a:schemeClr val="accent4"/>
          </a:solidFill>
        </p:spPr>
        <p:txBody>
          <a:bodyPr>
            <a:normAutofit/>
          </a:bodyPr>
          <a:lstStyle>
            <a:lvl1pPr marL="0" marR="0" indent="0" algn="l" defTabSz="10885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8" name="図プレースホルダー 5"/>
          <p:cNvSpPr>
            <a:spLocks noGrp="1"/>
          </p:cNvSpPr>
          <p:nvPr>
            <p:ph type="pic" sz="quarter" idx="16" hasCustomPrompt="1"/>
          </p:nvPr>
        </p:nvSpPr>
        <p:spPr>
          <a:xfrm>
            <a:off x="9758492" y="29028"/>
            <a:ext cx="2400208" cy="2400000"/>
          </a:xfrm>
          <a:solidFill>
            <a:schemeClr val="accent5"/>
          </a:solidFill>
        </p:spPr>
        <p:txBody>
          <a:bodyPr>
            <a:normAutofit/>
          </a:bodyPr>
          <a:lstStyle>
            <a:lvl1pPr marL="0" marR="0" indent="0" algn="l" defTabSz="10885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9" name="図プレースホルダー 5"/>
          <p:cNvSpPr>
            <a:spLocks noGrp="1"/>
          </p:cNvSpPr>
          <p:nvPr>
            <p:ph type="pic" sz="quarter" idx="17" hasCustomPrompt="1"/>
          </p:nvPr>
        </p:nvSpPr>
        <p:spPr>
          <a:xfrm>
            <a:off x="23956" y="4419110"/>
            <a:ext cx="2400208" cy="2400000"/>
          </a:xfrm>
          <a:solidFill>
            <a:schemeClr val="accent5"/>
          </a:solidFill>
        </p:spPr>
        <p:txBody>
          <a:bodyPr/>
          <a:lstStyle>
            <a:lvl1pPr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10" name="図プレースホルダー 5"/>
          <p:cNvSpPr>
            <a:spLocks noGrp="1"/>
          </p:cNvSpPr>
          <p:nvPr>
            <p:ph type="pic" sz="quarter" idx="18" hasCustomPrompt="1"/>
          </p:nvPr>
        </p:nvSpPr>
        <p:spPr>
          <a:xfrm>
            <a:off x="2457215" y="4419110"/>
            <a:ext cx="2400208" cy="2400000"/>
          </a:xfrm>
          <a:solidFill>
            <a:schemeClr val="accent4"/>
          </a:solidFill>
        </p:spPr>
        <p:txBody>
          <a:bodyPr>
            <a:normAutofit/>
          </a:bodyPr>
          <a:lstStyle>
            <a:lvl1pPr marL="0" marR="0" indent="0" algn="l" defTabSz="10885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1" name="図プレースホルダー 5"/>
          <p:cNvSpPr>
            <a:spLocks noGrp="1"/>
          </p:cNvSpPr>
          <p:nvPr>
            <p:ph type="pic" sz="quarter" idx="19" hasCustomPrompt="1"/>
          </p:nvPr>
        </p:nvSpPr>
        <p:spPr>
          <a:xfrm>
            <a:off x="4890473" y="4419110"/>
            <a:ext cx="2400208" cy="2400000"/>
          </a:xfrm>
          <a:solidFill>
            <a:schemeClr val="accent2"/>
          </a:solidFill>
        </p:spPr>
        <p:txBody>
          <a:bodyPr>
            <a:normAutofit/>
          </a:bodyPr>
          <a:lstStyle>
            <a:lvl1pPr marL="0" marR="0" indent="0" algn="l" defTabSz="10885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2" name="図プレースホルダー 5"/>
          <p:cNvSpPr>
            <a:spLocks noGrp="1"/>
          </p:cNvSpPr>
          <p:nvPr>
            <p:ph type="pic" sz="quarter" idx="20" hasCustomPrompt="1"/>
          </p:nvPr>
        </p:nvSpPr>
        <p:spPr>
          <a:xfrm>
            <a:off x="7324592" y="4419110"/>
            <a:ext cx="2400208" cy="2400000"/>
          </a:xfrm>
          <a:solidFill>
            <a:schemeClr val="accent3"/>
          </a:solidFill>
        </p:spPr>
        <p:txBody>
          <a:bodyPr>
            <a:normAutofit/>
          </a:bodyPr>
          <a:lstStyle>
            <a:lvl1pPr marL="0" marR="0" indent="0" algn="l" defTabSz="10885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3" name="図プレースホルダー 5"/>
          <p:cNvSpPr>
            <a:spLocks noGrp="1"/>
          </p:cNvSpPr>
          <p:nvPr>
            <p:ph type="pic" sz="quarter" idx="21" hasCustomPrompt="1"/>
          </p:nvPr>
        </p:nvSpPr>
        <p:spPr>
          <a:xfrm>
            <a:off x="9756991" y="4419110"/>
            <a:ext cx="2400208" cy="2400000"/>
          </a:xfrm>
          <a:solidFill>
            <a:schemeClr val="accent1"/>
          </a:solidFill>
        </p:spPr>
        <p:txBody>
          <a:bodyPr>
            <a:normAutofit/>
          </a:bodyPr>
          <a:lstStyle>
            <a:lvl1pPr marL="0" marR="0" indent="0" algn="l" defTabSz="108855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6" name="タイトル 1"/>
          <p:cNvSpPr>
            <a:spLocks noGrp="1"/>
          </p:cNvSpPr>
          <p:nvPr>
            <p:ph type="title" hasCustomPrompt="1"/>
          </p:nvPr>
        </p:nvSpPr>
        <p:spPr>
          <a:xfrm>
            <a:off x="483852" y="2637235"/>
            <a:ext cx="11215678" cy="900605"/>
          </a:xfrm>
        </p:spPr>
        <p:txBody>
          <a:bodyPr anchor="b">
            <a:normAutofit/>
          </a:bodyPr>
          <a:lstStyle>
            <a:lvl1pPr algn="ctr">
              <a:defRPr sz="4400" baseline="0">
                <a:solidFill>
                  <a:schemeClr val="bg1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7" name="正方形/長方形 16"/>
          <p:cNvSpPr/>
          <p:nvPr userDrawn="1"/>
        </p:nvSpPr>
        <p:spPr>
          <a:xfrm>
            <a:off x="5015257" y="3547989"/>
            <a:ext cx="2160427" cy="4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8" name="テキスト プレースホルダー 6"/>
          <p:cNvSpPr>
            <a:spLocks noGrp="1"/>
          </p:cNvSpPr>
          <p:nvPr>
            <p:ph type="body" sz="quarter" idx="22" hasCustomPrompt="1"/>
          </p:nvPr>
        </p:nvSpPr>
        <p:spPr>
          <a:xfrm>
            <a:off x="483852" y="3596435"/>
            <a:ext cx="11215678" cy="623628"/>
          </a:xfrm>
        </p:spPr>
        <p:txBody>
          <a:bodyPr anchor="t">
            <a:noAutofit/>
          </a:bodyPr>
          <a:lstStyle>
            <a:lvl1pPr algn="ctr">
              <a:defRPr sz="2133" i="1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24" name="円/楕円 23"/>
          <p:cNvSpPr/>
          <p:nvPr userDrawn="1"/>
        </p:nvSpPr>
        <p:spPr>
          <a:xfrm>
            <a:off x="11543659" y="3495431"/>
            <a:ext cx="505184" cy="50514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251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4" presetClass="entr" presetSubtype="1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4" presetClass="entr" presetSubtype="1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750"/>
                            </p:stCondLst>
                            <p:childTnLst>
                              <p:par>
                                <p:cTn id="36" presetID="2" presetClass="entr" presetSubtype="8" decel="100000" fill="hold" grpId="0" nodeType="afterEffect">
                                  <p:stCondLst>
                                    <p:cond delay="2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6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4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4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4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4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4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4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4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4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4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4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4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4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4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4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4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6" grpId="0"/>
      <p:bldP spid="17" grpId="0" animBg="1"/>
      <p:bldP spid="18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animBg="1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/>
          <p:cNvSpPr/>
          <p:nvPr userDrawn="1"/>
        </p:nvSpPr>
        <p:spPr>
          <a:xfrm>
            <a:off x="0" y="0"/>
            <a:ext cx="3429298" cy="3429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7" name="図プレースホルダー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3429000"/>
            <a:ext cx="6095471" cy="3429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8" name="図プレースホルダー 3"/>
          <p:cNvSpPr>
            <a:spLocks noGrp="1"/>
          </p:cNvSpPr>
          <p:nvPr>
            <p:ph type="pic" sz="quarter" idx="13" hasCustomPrompt="1"/>
          </p:nvPr>
        </p:nvSpPr>
        <p:spPr>
          <a:xfrm>
            <a:off x="3413727" y="0"/>
            <a:ext cx="4746682" cy="3429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9" name="図プレースホルダー 3"/>
          <p:cNvSpPr>
            <a:spLocks noGrp="1"/>
          </p:cNvSpPr>
          <p:nvPr>
            <p:ph type="pic" sz="quarter" idx="14" hasCustomPrompt="1"/>
          </p:nvPr>
        </p:nvSpPr>
        <p:spPr>
          <a:xfrm>
            <a:off x="8160408" y="0"/>
            <a:ext cx="4031592" cy="3429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0" name="正方形/長方形 9"/>
          <p:cNvSpPr/>
          <p:nvPr userDrawn="1"/>
        </p:nvSpPr>
        <p:spPr>
          <a:xfrm>
            <a:off x="6095471" y="3429000"/>
            <a:ext cx="2737071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1" name="図プレースホルダー 3"/>
          <p:cNvSpPr>
            <a:spLocks noGrp="1"/>
          </p:cNvSpPr>
          <p:nvPr>
            <p:ph type="pic" sz="quarter" idx="15" hasCustomPrompt="1"/>
          </p:nvPr>
        </p:nvSpPr>
        <p:spPr>
          <a:xfrm>
            <a:off x="8832541" y="3429000"/>
            <a:ext cx="3353115" cy="3429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1088556" rtl="0" eaLnBrk="1" fontAlgn="auto" latinLnBrk="0" hangingPunct="1">
              <a:lnSpc>
                <a:spcPct val="12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  <a:p>
            <a:endParaRPr kumimoji="1" lang="ja-JP" altLang="en-US" dirty="0"/>
          </a:p>
        </p:txBody>
      </p:sp>
      <p:sp>
        <p:nvSpPr>
          <p:cNvPr id="12" name="タイトル 1"/>
          <p:cNvSpPr>
            <a:spLocks noGrp="1"/>
          </p:cNvSpPr>
          <p:nvPr>
            <p:ph type="title" hasCustomPrompt="1"/>
          </p:nvPr>
        </p:nvSpPr>
        <p:spPr>
          <a:xfrm>
            <a:off x="142822" y="500675"/>
            <a:ext cx="3120617" cy="1044621"/>
          </a:xfrm>
        </p:spPr>
        <p:txBody>
          <a:bodyPr anchor="b">
            <a:normAutofit/>
          </a:bodyPr>
          <a:lstStyle>
            <a:lvl1pPr algn="ctr">
              <a:defRPr sz="2400" baseline="0">
                <a:solidFill>
                  <a:schemeClr val="bg1"/>
                </a:solidFill>
                <a:latin typeface="Route 159 SemiBold" pitchFamily="50" charset="0"/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3" name="テキスト プレースホルダー 6"/>
          <p:cNvSpPr>
            <a:spLocks noGrp="1"/>
          </p:cNvSpPr>
          <p:nvPr>
            <p:ph type="body" sz="quarter" idx="22" hasCustomPrompt="1"/>
          </p:nvPr>
        </p:nvSpPr>
        <p:spPr>
          <a:xfrm>
            <a:off x="142822" y="1701716"/>
            <a:ext cx="3120618" cy="1487257"/>
          </a:xfrm>
        </p:spPr>
        <p:txBody>
          <a:bodyPr anchor="t">
            <a:noAutofit/>
          </a:bodyPr>
          <a:lstStyle>
            <a:lvl1pPr algn="ctr">
              <a:defRPr sz="1333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4" name="テキスト プレースホルダー 6"/>
          <p:cNvSpPr>
            <a:spLocks noGrp="1"/>
          </p:cNvSpPr>
          <p:nvPr>
            <p:ph type="body" sz="quarter" idx="23" hasCustomPrompt="1"/>
          </p:nvPr>
        </p:nvSpPr>
        <p:spPr>
          <a:xfrm>
            <a:off x="6192019" y="3573016"/>
            <a:ext cx="2544503" cy="3120347"/>
          </a:xfrm>
        </p:spPr>
        <p:txBody>
          <a:bodyPr anchor="ctr">
            <a:noAutofit/>
          </a:bodyPr>
          <a:lstStyle>
            <a:lvl1pPr algn="l">
              <a:defRPr sz="1333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85671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25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75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/>
      <p:bldP spid="1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9"/>
          <p:cNvSpPr/>
          <p:nvPr userDrawn="1"/>
        </p:nvSpPr>
        <p:spPr>
          <a:xfrm>
            <a:off x="0" y="0"/>
            <a:ext cx="12192000" cy="74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1" name="正方形/長方形 10"/>
          <p:cNvSpPr/>
          <p:nvPr userDrawn="1"/>
        </p:nvSpPr>
        <p:spPr>
          <a:xfrm>
            <a:off x="0" y="3976914"/>
            <a:ext cx="12192000" cy="28810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pic>
        <p:nvPicPr>
          <p:cNvPr id="12" name="図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2465" y="2967732"/>
            <a:ext cx="672846" cy="1009181"/>
          </a:xfrm>
          <a:prstGeom prst="rect">
            <a:avLst/>
          </a:prstGeom>
        </p:spPr>
      </p:pic>
      <p:pic>
        <p:nvPicPr>
          <p:cNvPr id="13" name="図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4309" y="2971388"/>
            <a:ext cx="654562" cy="1005525"/>
          </a:xfrm>
          <a:prstGeom prst="rect">
            <a:avLst/>
          </a:prstGeom>
        </p:spPr>
      </p:pic>
      <p:pic>
        <p:nvPicPr>
          <p:cNvPr id="14" name="図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184" y="2773940"/>
            <a:ext cx="804488" cy="1202973"/>
          </a:xfrm>
          <a:prstGeom prst="rect">
            <a:avLst/>
          </a:prstGeom>
        </p:spPr>
      </p:pic>
      <p:pic>
        <p:nvPicPr>
          <p:cNvPr id="15" name="図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501" y="2470455"/>
            <a:ext cx="707584" cy="1506459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0572" y="2419264"/>
            <a:ext cx="782549" cy="1557650"/>
          </a:xfrm>
          <a:prstGeom prst="rect">
            <a:avLst/>
          </a:prstGeom>
        </p:spPr>
      </p:pic>
      <p:pic>
        <p:nvPicPr>
          <p:cNvPr id="17" name="図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8371" y="2188907"/>
            <a:ext cx="780720" cy="1788006"/>
          </a:xfrm>
          <a:prstGeom prst="rect">
            <a:avLst/>
          </a:prstGeom>
        </p:spPr>
      </p:pic>
      <p:sp>
        <p:nvSpPr>
          <p:cNvPr id="29" name="テキスト プレースホルダー 6"/>
          <p:cNvSpPr>
            <a:spLocks noGrp="1"/>
          </p:cNvSpPr>
          <p:nvPr>
            <p:ph type="body" sz="quarter" idx="21" hasCustomPrompt="1"/>
          </p:nvPr>
        </p:nvSpPr>
        <p:spPr>
          <a:xfrm>
            <a:off x="695256" y="1945551"/>
            <a:ext cx="2926334" cy="480053"/>
          </a:xfrm>
        </p:spPr>
        <p:txBody>
          <a:bodyPr anchor="ctr">
            <a:noAutofit/>
          </a:bodyPr>
          <a:lstStyle>
            <a:lvl1pPr algn="ctr">
              <a:defRPr sz="1867" i="0" baseline="0">
                <a:solidFill>
                  <a:schemeClr val="accent1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0" name="テキスト プレースホルダー 6"/>
          <p:cNvSpPr>
            <a:spLocks noGrp="1"/>
          </p:cNvSpPr>
          <p:nvPr>
            <p:ph type="body" sz="quarter" idx="22" hasCustomPrompt="1"/>
          </p:nvPr>
        </p:nvSpPr>
        <p:spPr>
          <a:xfrm>
            <a:off x="2148888" y="1374814"/>
            <a:ext cx="2926334" cy="480053"/>
          </a:xfrm>
        </p:spPr>
        <p:txBody>
          <a:bodyPr anchor="ctr">
            <a:noAutofit/>
          </a:bodyPr>
          <a:lstStyle>
            <a:lvl1pPr algn="ctr">
              <a:defRPr sz="1867" i="0" baseline="0">
                <a:solidFill>
                  <a:schemeClr val="accent3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1" name="テキスト プレースホルダー 6"/>
          <p:cNvSpPr>
            <a:spLocks noGrp="1"/>
          </p:cNvSpPr>
          <p:nvPr>
            <p:ph type="body" sz="quarter" idx="23" hasCustomPrompt="1"/>
          </p:nvPr>
        </p:nvSpPr>
        <p:spPr>
          <a:xfrm>
            <a:off x="6858678" y="1011208"/>
            <a:ext cx="2926334" cy="480053"/>
          </a:xfrm>
        </p:spPr>
        <p:txBody>
          <a:bodyPr anchor="ctr">
            <a:noAutofit/>
          </a:bodyPr>
          <a:lstStyle>
            <a:lvl1pPr algn="ctr">
              <a:defRPr sz="1867" i="0" baseline="0">
                <a:solidFill>
                  <a:schemeClr val="accent5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2" name="テキスト プレースホルダー 6"/>
          <p:cNvSpPr>
            <a:spLocks noGrp="1"/>
          </p:cNvSpPr>
          <p:nvPr>
            <p:ph type="body" sz="quarter" idx="24" hasCustomPrompt="1"/>
          </p:nvPr>
        </p:nvSpPr>
        <p:spPr>
          <a:xfrm>
            <a:off x="5256843" y="1590874"/>
            <a:ext cx="2926334" cy="480053"/>
          </a:xfrm>
        </p:spPr>
        <p:txBody>
          <a:bodyPr anchor="ctr">
            <a:noAutofit/>
          </a:bodyPr>
          <a:lstStyle>
            <a:lvl1pPr algn="ctr">
              <a:defRPr sz="1867" i="0" baseline="0">
                <a:solidFill>
                  <a:schemeClr val="accent4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3" name="テキスト プレースホルダー 6"/>
          <p:cNvSpPr>
            <a:spLocks noGrp="1"/>
          </p:cNvSpPr>
          <p:nvPr>
            <p:ph type="body" sz="quarter" idx="25" hasCustomPrompt="1"/>
          </p:nvPr>
        </p:nvSpPr>
        <p:spPr>
          <a:xfrm>
            <a:off x="3817870" y="804077"/>
            <a:ext cx="2926334" cy="480053"/>
          </a:xfrm>
        </p:spPr>
        <p:txBody>
          <a:bodyPr anchor="ctr">
            <a:noAutofit/>
          </a:bodyPr>
          <a:lstStyle>
            <a:lvl1pPr algn="ctr">
              <a:defRPr sz="1867" i="0" baseline="0">
                <a:solidFill>
                  <a:schemeClr val="accent2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4" name="テキスト プレースホルダー 6"/>
          <p:cNvSpPr>
            <a:spLocks noGrp="1"/>
          </p:cNvSpPr>
          <p:nvPr>
            <p:ph type="body" sz="quarter" idx="26" hasCustomPrompt="1"/>
          </p:nvPr>
        </p:nvSpPr>
        <p:spPr>
          <a:xfrm>
            <a:off x="8465563" y="431542"/>
            <a:ext cx="2926334" cy="480053"/>
          </a:xfrm>
        </p:spPr>
        <p:txBody>
          <a:bodyPr anchor="ctr">
            <a:noAutofit/>
          </a:bodyPr>
          <a:lstStyle>
            <a:lvl1pPr algn="ctr">
              <a:defRPr sz="1867" i="0" baseline="0">
                <a:solidFill>
                  <a:schemeClr val="accent6"/>
                </a:solidFill>
                <a:latin typeface="Route 159 SemiBold" pitchFamily="50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cxnSp>
        <p:nvCxnSpPr>
          <p:cNvPr id="36" name="直線コネクタ 35"/>
          <p:cNvCxnSpPr>
            <a:stCxn id="29" idx="2"/>
          </p:cNvCxnSpPr>
          <p:nvPr userDrawn="1"/>
        </p:nvCxnSpPr>
        <p:spPr>
          <a:xfrm>
            <a:off x="2158423" y="2425604"/>
            <a:ext cx="0" cy="448225"/>
          </a:xfrm>
          <a:prstGeom prst="line">
            <a:avLst/>
          </a:prstGeom>
          <a:ln w="28575"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コネクタ 39"/>
          <p:cNvCxnSpPr/>
          <p:nvPr userDrawn="1"/>
        </p:nvCxnSpPr>
        <p:spPr>
          <a:xfrm>
            <a:off x="3617196" y="1944914"/>
            <a:ext cx="0" cy="922517"/>
          </a:xfrm>
          <a:prstGeom prst="line">
            <a:avLst/>
          </a:prstGeom>
          <a:ln w="28575">
            <a:solidFill>
              <a:schemeClr val="accent3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線コネクタ 41"/>
          <p:cNvCxnSpPr/>
          <p:nvPr userDrawn="1"/>
        </p:nvCxnSpPr>
        <p:spPr>
          <a:xfrm>
            <a:off x="5269588" y="1364343"/>
            <a:ext cx="0" cy="1265941"/>
          </a:xfrm>
          <a:prstGeom prst="line">
            <a:avLst/>
          </a:prstGeom>
          <a:ln w="28575">
            <a:solidFill>
              <a:schemeClr val="accent2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線コネクタ 43"/>
          <p:cNvCxnSpPr/>
          <p:nvPr userDrawn="1"/>
        </p:nvCxnSpPr>
        <p:spPr>
          <a:xfrm>
            <a:off x="6713029" y="2098914"/>
            <a:ext cx="0" cy="223373"/>
          </a:xfrm>
          <a:prstGeom prst="line">
            <a:avLst/>
          </a:prstGeom>
          <a:ln w="28575">
            <a:solidFill>
              <a:schemeClr val="accent4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線コネクタ 45"/>
          <p:cNvCxnSpPr/>
          <p:nvPr userDrawn="1"/>
        </p:nvCxnSpPr>
        <p:spPr>
          <a:xfrm>
            <a:off x="8321845" y="1507999"/>
            <a:ext cx="0" cy="814287"/>
          </a:xfrm>
          <a:prstGeom prst="line">
            <a:avLst/>
          </a:prstGeom>
          <a:ln w="28575">
            <a:solidFill>
              <a:schemeClr val="accent5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コネクタ 47"/>
          <p:cNvCxnSpPr/>
          <p:nvPr userDrawn="1"/>
        </p:nvCxnSpPr>
        <p:spPr>
          <a:xfrm>
            <a:off x="9938852" y="922965"/>
            <a:ext cx="0" cy="1175948"/>
          </a:xfrm>
          <a:prstGeom prst="line">
            <a:avLst/>
          </a:prstGeom>
          <a:ln w="28575">
            <a:solidFill>
              <a:schemeClr val="accent6"/>
            </a:solidFill>
            <a:prstDash val="sysDot"/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タイトル 1"/>
          <p:cNvSpPr>
            <a:spLocks noGrp="1"/>
          </p:cNvSpPr>
          <p:nvPr>
            <p:ph type="title" hasCustomPrompt="1"/>
          </p:nvPr>
        </p:nvSpPr>
        <p:spPr>
          <a:xfrm>
            <a:off x="483852" y="4214454"/>
            <a:ext cx="11215678" cy="900605"/>
          </a:xfrm>
        </p:spPr>
        <p:txBody>
          <a:bodyPr anchor="b">
            <a:normAutofit/>
          </a:bodyPr>
          <a:lstStyle>
            <a:lvl1pPr algn="ctr">
              <a:defRPr sz="4400" baseline="0">
                <a:solidFill>
                  <a:schemeClr val="bg1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54" name="正方形/長方形 53"/>
          <p:cNvSpPr/>
          <p:nvPr userDrawn="1"/>
        </p:nvSpPr>
        <p:spPr>
          <a:xfrm>
            <a:off x="5015257" y="5125208"/>
            <a:ext cx="2160427" cy="4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55" name="テキスト プレースホルダー 6"/>
          <p:cNvSpPr>
            <a:spLocks noGrp="1"/>
          </p:cNvSpPr>
          <p:nvPr>
            <p:ph type="body" sz="quarter" idx="42" hasCustomPrompt="1"/>
          </p:nvPr>
        </p:nvSpPr>
        <p:spPr>
          <a:xfrm>
            <a:off x="286850" y="5321905"/>
            <a:ext cx="11618299" cy="1112762"/>
          </a:xfrm>
        </p:spPr>
        <p:txBody>
          <a:bodyPr>
            <a:noAutofit/>
          </a:bodyPr>
          <a:lstStyle>
            <a:lvl1pPr algn="ctr">
              <a:defRPr sz="1333" b="0" i="0" u="none" baseline="0">
                <a:solidFill>
                  <a:schemeClr val="bg1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Description goes her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47437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50"/>
                            </p:stCondLst>
                            <p:childTnLst>
                              <p:par>
                                <p:cTn id="1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25"/>
                            </p:stCondLst>
                            <p:childTnLst>
                              <p:par>
                                <p:cTn id="24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275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775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50"/>
                            </p:stCondLst>
                            <p:childTnLst>
                              <p:par>
                                <p:cTn id="39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300"/>
                            </p:stCondLst>
                            <p:childTnLst>
                              <p:par>
                                <p:cTn id="4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800"/>
                            </p:stCondLst>
                            <p:childTnLst>
                              <p:par>
                                <p:cTn id="4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6575"/>
                            </p:stCondLst>
                            <p:childTnLst>
                              <p:par>
                                <p:cTn id="54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325"/>
                            </p:stCondLst>
                            <p:childTnLst>
                              <p:par>
                                <p:cTn id="5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825"/>
                            </p:stCondLst>
                            <p:childTnLst>
                              <p:par>
                                <p:cTn id="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8600"/>
                            </p:stCondLst>
                            <p:childTnLst>
                              <p:par>
                                <p:cTn id="69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9350"/>
                            </p:stCondLst>
                            <p:childTnLst>
                              <p:par>
                                <p:cTn id="7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9850"/>
                            </p:stCondLst>
                            <p:childTnLst>
                              <p:par>
                                <p:cTn id="7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0625"/>
                            </p:stCondLst>
                            <p:childTnLst>
                              <p:par>
                                <p:cTn id="84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1375"/>
                            </p:stCondLst>
                            <p:childTnLst>
                              <p:par>
                                <p:cTn id="8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1875"/>
                            </p:stCondLst>
                            <p:childTnLst>
                              <p:par>
                                <p:cTn id="9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2650"/>
                            </p:stCondLst>
                            <p:childTnLst>
                              <p:par>
                                <p:cTn id="99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13250"/>
                            </p:stCondLst>
                            <p:childTnLst>
                              <p:par>
                                <p:cTn id="108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0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9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/>
      <p:bldP spid="54" grpId="0" animBg="1"/>
      <p:bldP spid="55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Opin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グループ化 28"/>
          <p:cNvGrpSpPr/>
          <p:nvPr userDrawn="1"/>
        </p:nvGrpSpPr>
        <p:grpSpPr>
          <a:xfrm>
            <a:off x="5343196" y="37273"/>
            <a:ext cx="6848804" cy="4481941"/>
            <a:chOff x="7426437" y="55909"/>
            <a:chExt cx="10859975" cy="6722912"/>
          </a:xfrm>
        </p:grpSpPr>
        <p:sp>
          <p:nvSpPr>
            <p:cNvPr id="13" name="正方形/長方形 12"/>
            <p:cNvSpPr/>
            <p:nvPr userDrawn="1"/>
          </p:nvSpPr>
          <p:spPr>
            <a:xfrm>
              <a:off x="10859975" y="111818"/>
              <a:ext cx="7426437" cy="66670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12" name="直角三角形 11"/>
            <p:cNvSpPr/>
            <p:nvPr userDrawn="1"/>
          </p:nvSpPr>
          <p:spPr>
            <a:xfrm flipH="1">
              <a:off x="7426437" y="55909"/>
              <a:ext cx="3433538" cy="6722912"/>
            </a:xfrm>
            <a:prstGeom prst="rt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</p:grpSp>
      <p:sp>
        <p:nvSpPr>
          <p:cNvPr id="2" name="正方形/長方形 1"/>
          <p:cNvSpPr/>
          <p:nvPr userDrawn="1"/>
        </p:nvSpPr>
        <p:spPr>
          <a:xfrm>
            <a:off x="0" y="0"/>
            <a:ext cx="12192000" cy="74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pic>
        <p:nvPicPr>
          <p:cNvPr id="3" name="図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199" y="471963"/>
            <a:ext cx="1282667" cy="4047252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4" name="図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775" y="1017730"/>
            <a:ext cx="1187142" cy="3501485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6" name="正方形/長方形 5"/>
          <p:cNvSpPr/>
          <p:nvPr userDrawn="1"/>
        </p:nvSpPr>
        <p:spPr>
          <a:xfrm>
            <a:off x="0" y="4519215"/>
            <a:ext cx="12192000" cy="233878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7" name="タイトル 1"/>
          <p:cNvSpPr>
            <a:spLocks noGrp="1"/>
          </p:cNvSpPr>
          <p:nvPr userDrawn="1">
            <p:ph type="title" hasCustomPrompt="1"/>
          </p:nvPr>
        </p:nvSpPr>
        <p:spPr>
          <a:xfrm>
            <a:off x="483852" y="4637788"/>
            <a:ext cx="11215678" cy="900605"/>
          </a:xfrm>
        </p:spPr>
        <p:txBody>
          <a:bodyPr anchor="b">
            <a:normAutofit/>
          </a:bodyPr>
          <a:lstStyle>
            <a:lvl1pPr algn="ctr">
              <a:defRPr sz="4400" baseline="0">
                <a:solidFill>
                  <a:schemeClr val="bg1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8" name="正方形/長方形 7"/>
          <p:cNvSpPr/>
          <p:nvPr userDrawn="1"/>
        </p:nvSpPr>
        <p:spPr>
          <a:xfrm>
            <a:off x="5015257" y="5548542"/>
            <a:ext cx="2160427" cy="480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9" name="テキスト プレースホルダー 6"/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7768456" y="397384"/>
            <a:ext cx="4036642" cy="821816"/>
          </a:xfrm>
        </p:spPr>
        <p:txBody>
          <a:bodyPr>
            <a:noAutofit/>
          </a:bodyPr>
          <a:lstStyle>
            <a:lvl1pPr algn="l">
              <a:defRPr sz="4400" b="0" i="0" u="none" baseline="0">
                <a:solidFill>
                  <a:schemeClr val="accent1"/>
                </a:solidFill>
                <a:latin typeface="+mj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Word</a:t>
            </a:r>
            <a:endParaRPr kumimoji="1" lang="ja-JP" altLang="en-US" dirty="0"/>
          </a:p>
        </p:txBody>
      </p:sp>
      <p:sp>
        <p:nvSpPr>
          <p:cNvPr id="10" name="テキスト プレースホルダー 6"/>
          <p:cNvSpPr>
            <a:spLocks noGrp="1"/>
          </p:cNvSpPr>
          <p:nvPr userDrawn="1">
            <p:ph type="body" sz="quarter" idx="43" hasCustomPrompt="1"/>
          </p:nvPr>
        </p:nvSpPr>
        <p:spPr>
          <a:xfrm>
            <a:off x="305322" y="397384"/>
            <a:ext cx="3786740" cy="821816"/>
          </a:xfrm>
        </p:spPr>
        <p:txBody>
          <a:bodyPr>
            <a:noAutofit/>
          </a:bodyPr>
          <a:lstStyle>
            <a:lvl1pPr algn="r">
              <a:defRPr sz="4400" b="0" i="0" u="none" baseline="0">
                <a:solidFill>
                  <a:schemeClr val="accent5"/>
                </a:solidFill>
                <a:latin typeface="+mj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Word</a:t>
            </a:r>
            <a:endParaRPr kumimoji="1" lang="ja-JP" altLang="en-US" dirty="0"/>
          </a:p>
        </p:txBody>
      </p:sp>
      <p:sp>
        <p:nvSpPr>
          <p:cNvPr id="11" name="テキスト プレースホルダー 6"/>
          <p:cNvSpPr>
            <a:spLocks noGrp="1"/>
          </p:cNvSpPr>
          <p:nvPr userDrawn="1">
            <p:ph type="body" sz="quarter" idx="44" hasCustomPrompt="1"/>
          </p:nvPr>
        </p:nvSpPr>
        <p:spPr>
          <a:xfrm>
            <a:off x="286850" y="5688607"/>
            <a:ext cx="11618299" cy="998520"/>
          </a:xfrm>
        </p:spPr>
        <p:txBody>
          <a:bodyPr>
            <a:noAutofit/>
          </a:bodyPr>
          <a:lstStyle>
            <a:lvl1pPr algn="ctr">
              <a:defRPr sz="1333" b="0" i="0" u="none" baseline="0">
                <a:solidFill>
                  <a:schemeClr val="bg1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Description goes here</a:t>
            </a:r>
            <a:endParaRPr kumimoji="1" lang="ja-JP" altLang="en-US" dirty="0"/>
          </a:p>
        </p:txBody>
      </p:sp>
      <p:sp>
        <p:nvSpPr>
          <p:cNvPr id="14" name="テキスト プレースホルダー 6"/>
          <p:cNvSpPr>
            <a:spLocks noGrp="1"/>
          </p:cNvSpPr>
          <p:nvPr userDrawn="1">
            <p:ph type="body" sz="quarter" idx="45" hasCustomPrompt="1"/>
          </p:nvPr>
        </p:nvSpPr>
        <p:spPr>
          <a:xfrm>
            <a:off x="727632" y="1930400"/>
            <a:ext cx="3518363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5" name="円/楕円 14"/>
          <p:cNvSpPr/>
          <p:nvPr userDrawn="1"/>
        </p:nvSpPr>
        <p:spPr>
          <a:xfrm>
            <a:off x="357147" y="2121850"/>
            <a:ext cx="272907" cy="27288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6" name="テキスト プレースホルダー 6"/>
          <p:cNvSpPr>
            <a:spLocks noGrp="1"/>
          </p:cNvSpPr>
          <p:nvPr userDrawn="1">
            <p:ph type="body" sz="quarter" idx="46" hasCustomPrompt="1"/>
          </p:nvPr>
        </p:nvSpPr>
        <p:spPr>
          <a:xfrm>
            <a:off x="727632" y="2697019"/>
            <a:ext cx="3518363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7" name="円/楕円 16"/>
          <p:cNvSpPr/>
          <p:nvPr userDrawn="1"/>
        </p:nvSpPr>
        <p:spPr>
          <a:xfrm>
            <a:off x="361179" y="2888469"/>
            <a:ext cx="272907" cy="27288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8" name="テキスト プレースホルダー 6"/>
          <p:cNvSpPr>
            <a:spLocks noGrp="1"/>
          </p:cNvSpPr>
          <p:nvPr userDrawn="1">
            <p:ph type="body" sz="quarter" idx="47" hasCustomPrompt="1"/>
          </p:nvPr>
        </p:nvSpPr>
        <p:spPr>
          <a:xfrm>
            <a:off x="727632" y="3463637"/>
            <a:ext cx="3518363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9" name="円/楕円 18"/>
          <p:cNvSpPr/>
          <p:nvPr userDrawn="1"/>
        </p:nvSpPr>
        <p:spPr>
          <a:xfrm>
            <a:off x="357147" y="3655086"/>
            <a:ext cx="272907" cy="27288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3" name="テキスト プレースホルダー 6"/>
          <p:cNvSpPr>
            <a:spLocks noGrp="1"/>
          </p:cNvSpPr>
          <p:nvPr userDrawn="1">
            <p:ph type="body" sz="quarter" idx="48" hasCustomPrompt="1"/>
          </p:nvPr>
        </p:nvSpPr>
        <p:spPr>
          <a:xfrm>
            <a:off x="8372931" y="1932505"/>
            <a:ext cx="3518363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24" name="円/楕円 23"/>
          <p:cNvSpPr/>
          <p:nvPr userDrawn="1"/>
        </p:nvSpPr>
        <p:spPr>
          <a:xfrm>
            <a:off x="8002447" y="2123955"/>
            <a:ext cx="272907" cy="2728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5" name="テキスト プレースホルダー 6"/>
          <p:cNvSpPr>
            <a:spLocks noGrp="1"/>
          </p:cNvSpPr>
          <p:nvPr userDrawn="1">
            <p:ph type="body" sz="quarter" idx="49" hasCustomPrompt="1"/>
          </p:nvPr>
        </p:nvSpPr>
        <p:spPr>
          <a:xfrm>
            <a:off x="8372931" y="2699124"/>
            <a:ext cx="3518363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26" name="円/楕円 25"/>
          <p:cNvSpPr/>
          <p:nvPr userDrawn="1"/>
        </p:nvSpPr>
        <p:spPr>
          <a:xfrm>
            <a:off x="8002447" y="2890573"/>
            <a:ext cx="272907" cy="2728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7" name="テキスト プレースホルダー 6"/>
          <p:cNvSpPr>
            <a:spLocks noGrp="1"/>
          </p:cNvSpPr>
          <p:nvPr userDrawn="1">
            <p:ph type="body" sz="quarter" idx="50" hasCustomPrompt="1"/>
          </p:nvPr>
        </p:nvSpPr>
        <p:spPr>
          <a:xfrm>
            <a:off x="8372931" y="3465742"/>
            <a:ext cx="3518363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28" name="円/楕円 27"/>
          <p:cNvSpPr/>
          <p:nvPr userDrawn="1"/>
        </p:nvSpPr>
        <p:spPr>
          <a:xfrm>
            <a:off x="8002447" y="3657191"/>
            <a:ext cx="272907" cy="27288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0" name="正方形/長方形 29"/>
          <p:cNvSpPr/>
          <p:nvPr userDrawn="1"/>
        </p:nvSpPr>
        <p:spPr>
          <a:xfrm>
            <a:off x="2133262" y="1225923"/>
            <a:ext cx="2160427" cy="4800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1" name="正方形/長方形 30"/>
          <p:cNvSpPr/>
          <p:nvPr userDrawn="1"/>
        </p:nvSpPr>
        <p:spPr>
          <a:xfrm>
            <a:off x="7370735" y="1225923"/>
            <a:ext cx="2160427" cy="480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194126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8" decel="10000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250"/>
                            </p:stCondLst>
                            <p:childTnLst>
                              <p:par>
                                <p:cTn id="22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7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5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500"/>
                            </p:stCondLst>
                            <p:childTnLst>
                              <p:par>
                                <p:cTn id="6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500"/>
                            </p:stCondLst>
                            <p:childTnLst>
                              <p:par>
                                <p:cTn id="6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80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500"/>
                            </p:stCondLst>
                            <p:childTnLst>
                              <p:par>
                                <p:cTn id="7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90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9500"/>
                            </p:stCondLst>
                            <p:childTnLst>
                              <p:par>
                                <p:cTn id="8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000"/>
                            </p:stCondLst>
                            <p:childTnLst>
                              <p:par>
                                <p:cTn id="88" presetID="2" presetClass="entr" presetSubtype="8" decel="100000" fill="hold" grpId="0" nodeType="afterEffect">
                                  <p:stCondLst>
                                    <p:cond delay="2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10850"/>
                            </p:stCondLst>
                            <p:childTnLst>
                              <p:par>
                                <p:cTn id="97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2" presetClass="entr" presetSubtype="8" decel="100000" fill="hold" nodeType="after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animBg="1"/>
      <p:bldP spid="1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animBg="1"/>
      <p:bldP spid="18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2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animBg="1"/>
      <p:bldP spid="25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animBg="1"/>
      <p:bldP spid="27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animBg="1"/>
      <p:bldP spid="30" grpId="0" animBg="1"/>
      <p:bldP spid="31" grpId="0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 userDrawn="1"/>
        </p:nvSpPr>
        <p:spPr>
          <a:xfrm>
            <a:off x="0" y="0"/>
            <a:ext cx="12192000" cy="41510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6398" y="308653"/>
            <a:ext cx="5274870" cy="4272731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620" y="950241"/>
            <a:ext cx="2554068" cy="3631143"/>
          </a:xfrm>
          <a:prstGeom prst="rect">
            <a:avLst/>
          </a:prstGeom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718" y="1804275"/>
            <a:ext cx="1363426" cy="2777109"/>
          </a:xfrm>
          <a:prstGeom prst="rect">
            <a:avLst/>
          </a:prstGeom>
        </p:spPr>
      </p:pic>
      <p:sp>
        <p:nvSpPr>
          <p:cNvPr id="11" name="図プレースホルダー 8"/>
          <p:cNvSpPr>
            <a:spLocks noGrp="1"/>
          </p:cNvSpPr>
          <p:nvPr>
            <p:ph type="pic" sz="quarter" idx="12" hasCustomPrompt="1"/>
          </p:nvPr>
        </p:nvSpPr>
        <p:spPr>
          <a:xfrm>
            <a:off x="2263469" y="2157779"/>
            <a:ext cx="1139924" cy="2070100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12" name="図プレースホルダー 8"/>
          <p:cNvSpPr>
            <a:spLocks noGrp="1"/>
          </p:cNvSpPr>
          <p:nvPr>
            <p:ph type="pic" sz="quarter" idx="13" hasCustomPrompt="1"/>
          </p:nvPr>
        </p:nvSpPr>
        <p:spPr>
          <a:xfrm>
            <a:off x="3660192" y="488673"/>
            <a:ext cx="4890968" cy="2704156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13" name="図プレースホルダー 8"/>
          <p:cNvSpPr>
            <a:spLocks noGrp="1"/>
          </p:cNvSpPr>
          <p:nvPr>
            <p:ph type="pic" sz="quarter" idx="14" hasCustomPrompt="1"/>
          </p:nvPr>
        </p:nvSpPr>
        <p:spPr>
          <a:xfrm>
            <a:off x="8839080" y="1282700"/>
            <a:ext cx="2209992" cy="2956390"/>
          </a:xfrm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16" name="タイトル 1"/>
          <p:cNvSpPr>
            <a:spLocks noGrp="1"/>
          </p:cNvSpPr>
          <p:nvPr>
            <p:ph type="title" hasCustomPrompt="1"/>
          </p:nvPr>
        </p:nvSpPr>
        <p:spPr>
          <a:xfrm>
            <a:off x="483852" y="4514410"/>
            <a:ext cx="11215678" cy="900605"/>
          </a:xfrm>
        </p:spPr>
        <p:txBody>
          <a:bodyPr anchor="b">
            <a:normAutofit/>
          </a:bodyPr>
          <a:lstStyle>
            <a:lvl1pPr algn="ctr">
              <a:defRPr sz="4400" baseline="0">
                <a:solidFill>
                  <a:schemeClr val="bg1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7" name="正方形/長方形 16"/>
          <p:cNvSpPr/>
          <p:nvPr userDrawn="1"/>
        </p:nvSpPr>
        <p:spPr>
          <a:xfrm>
            <a:off x="5015257" y="5425164"/>
            <a:ext cx="2160427" cy="480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8" name="テキスト プレースホルダー 6"/>
          <p:cNvSpPr>
            <a:spLocks noGrp="1"/>
          </p:cNvSpPr>
          <p:nvPr>
            <p:ph type="body" sz="quarter" idx="42" hasCustomPrompt="1"/>
          </p:nvPr>
        </p:nvSpPr>
        <p:spPr>
          <a:xfrm>
            <a:off x="286850" y="5621862"/>
            <a:ext cx="11618299" cy="1006329"/>
          </a:xfrm>
        </p:spPr>
        <p:txBody>
          <a:bodyPr>
            <a:noAutofit/>
          </a:bodyPr>
          <a:lstStyle>
            <a:lvl1pPr algn="ctr">
              <a:defRPr sz="1333" b="0" i="0" u="none" baseline="0">
                <a:solidFill>
                  <a:schemeClr val="bg1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Description goes her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54500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" presetClass="entr" presetSubtype="8" decel="100000" fill="hold" grpId="0" nodeType="after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1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1" grpId="0"/>
      <p:bldP spid="12" grpId="0"/>
      <p:bldP spid="13" grpId="0"/>
      <p:bldP spid="16" grpId="0"/>
      <p:bldP spid="17" grpId="0" animBg="1"/>
      <p:bldP spid="18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305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480" imgH="479" progId="TCLayout.ActiveDocument.1">
                  <p:embed/>
                </p:oleObj>
              </mc:Choice>
              <mc:Fallback>
                <p:oleObj name="think-cell Slide" r:id="rId4" imgW="480" imgH="479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6">
            <a:extLst>
              <a:ext uri="{FF2B5EF4-FFF2-40B4-BE49-F238E27FC236}">
                <a16:creationId xmlns:a16="http://schemas.microsoft.com/office/drawing/2014/main" id="{422DC57F-327A-4AD6-8CE9-BC7021274B55}"/>
              </a:ext>
            </a:extLst>
          </p:cNvPr>
          <p:cNvSpPr/>
          <p:nvPr userDrawn="1"/>
        </p:nvSpPr>
        <p:spPr>
          <a:xfrm rot="16200000">
            <a:off x="-398592" y="408120"/>
            <a:ext cx="912438" cy="10572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250896"/>
            <a:ext cx="10856913" cy="553526"/>
          </a:xfrm>
          <a:prstGeom prst="rect">
            <a:avLst/>
          </a:prstGeom>
        </p:spPr>
        <p:txBody>
          <a:bodyPr vert="horz"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701" y="1052945"/>
            <a:ext cx="10856912" cy="522316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TW" altLang="en-US" dirty="0"/>
              <a:t>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  <a:endParaRPr 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D75E09F-374B-4B92-B91B-CBD9F2478738}"/>
              </a:ext>
            </a:extLst>
          </p:cNvPr>
          <p:cNvSpPr/>
          <p:nvPr userDrawn="1"/>
        </p:nvSpPr>
        <p:spPr>
          <a:xfrm>
            <a:off x="11647939" y="6467075"/>
            <a:ext cx="424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D57F1E4F-1CFF-5643-939E-217C01CDF565}" type="slidenum">
              <a:rPr lang="en-US" altLang="zh-TW" sz="1200" smtClean="0">
                <a:solidFill>
                  <a:schemeClr val="tx1"/>
                </a:solidFill>
              </a:rPr>
              <a:pPr/>
              <a:t>‹#›</a:t>
            </a:fld>
            <a:endParaRPr lang="zh-TW" altLang="en-US" sz="1200" dirty="0">
              <a:solidFill>
                <a:schemeClr val="tx1"/>
              </a:solidFill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F242D1FC-07CB-4818-8721-827D2EAF7E3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309925" y="31783"/>
            <a:ext cx="873820" cy="885419"/>
          </a:xfrm>
          <a:prstGeom prst="rect">
            <a:avLst/>
          </a:prstGeom>
        </p:spPr>
      </p:pic>
      <p:cxnSp>
        <p:nvCxnSpPr>
          <p:cNvPr id="8" name="直線接點 7">
            <a:extLst>
              <a:ext uri="{FF2B5EF4-FFF2-40B4-BE49-F238E27FC236}">
                <a16:creationId xmlns:a16="http://schemas.microsoft.com/office/drawing/2014/main" id="{98D31D64-4AE6-4624-B26A-4C34D1C98D2A}"/>
              </a:ext>
            </a:extLst>
          </p:cNvPr>
          <p:cNvCxnSpPr>
            <a:cxnSpLocks/>
          </p:cNvCxnSpPr>
          <p:nvPr userDrawn="1"/>
        </p:nvCxnSpPr>
        <p:spPr>
          <a:xfrm>
            <a:off x="346527" y="900104"/>
            <a:ext cx="11150148" cy="0"/>
          </a:xfrm>
          <a:prstGeom prst="line">
            <a:avLst/>
          </a:prstGeom>
          <a:ln w="19050">
            <a:solidFill>
              <a:srgbClr val="FF01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EB6A1A7A-D77D-40C7-BE23-B8C221D59B1B}"/>
              </a:ext>
            </a:extLst>
          </p:cNvPr>
          <p:cNvSpPr/>
          <p:nvPr userDrawn="1"/>
        </p:nvSpPr>
        <p:spPr>
          <a:xfrm rot="16200000">
            <a:off x="-252110" y="436489"/>
            <a:ext cx="912436" cy="4898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06">
          <p15:clr>
            <a:srgbClr val="FBAE40"/>
          </p15:clr>
        </p15:guide>
        <p15:guide id="4" pos="724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b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正方形/長方形 25"/>
          <p:cNvSpPr/>
          <p:nvPr userDrawn="1"/>
        </p:nvSpPr>
        <p:spPr>
          <a:xfrm>
            <a:off x="0" y="4233333"/>
            <a:ext cx="12192000" cy="2624667"/>
          </a:xfrm>
          <a:prstGeom prst="rect">
            <a:avLst/>
          </a:prstGeom>
          <a:solidFill>
            <a:schemeClr val="tx2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>
              <a:solidFill>
                <a:schemeClr val="accent6"/>
              </a:solidFill>
            </a:endParaRPr>
          </a:p>
        </p:txBody>
      </p:sp>
      <p:sp>
        <p:nvSpPr>
          <p:cNvPr id="2" name="正方形/長方形 1"/>
          <p:cNvSpPr/>
          <p:nvPr userDrawn="1"/>
        </p:nvSpPr>
        <p:spPr>
          <a:xfrm>
            <a:off x="0" y="0"/>
            <a:ext cx="12192000" cy="74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2048598" y="164638"/>
            <a:ext cx="9567208" cy="802101"/>
          </a:xfrm>
          <a:prstGeom prst="rect">
            <a:avLst/>
          </a:prstGeom>
        </p:spPr>
        <p:txBody>
          <a:bodyPr vert="horz" lIns="163275" tIns="81638" rIns="163275" bIns="81638" rtlCol="0" anchor="ctr">
            <a:normAutofit/>
          </a:bodyPr>
          <a:lstStyle/>
          <a:p>
            <a:r>
              <a:rPr kumimoji="1" lang="en-US" altLang="ja-JP" dirty="0"/>
              <a:t>Slide Title</a:t>
            </a:r>
            <a:endParaRPr kumimoji="1" lang="ja-JP" altLang="en-US" dirty="0"/>
          </a:p>
        </p:txBody>
      </p:sp>
      <p:sp>
        <p:nvSpPr>
          <p:cNvPr id="13" name="テキスト プレースホルダー 6"/>
          <p:cNvSpPr>
            <a:spLocks noGrp="1"/>
          </p:cNvSpPr>
          <p:nvPr>
            <p:ph type="body" sz="quarter" idx="13" hasCustomPrompt="1"/>
          </p:nvPr>
        </p:nvSpPr>
        <p:spPr>
          <a:xfrm>
            <a:off x="2111211" y="1028734"/>
            <a:ext cx="9553890" cy="336037"/>
          </a:xfrm>
        </p:spPr>
        <p:txBody>
          <a:bodyPr/>
          <a:lstStyle>
            <a:lvl1pPr>
              <a:defRPr i="1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Short description goes here</a:t>
            </a:r>
            <a:endParaRPr kumimoji="1" lang="ja-JP" altLang="en-US" dirty="0"/>
          </a:p>
        </p:txBody>
      </p:sp>
      <p:sp>
        <p:nvSpPr>
          <p:cNvPr id="14" name="正方形/長方形 13"/>
          <p:cNvSpPr/>
          <p:nvPr userDrawn="1"/>
        </p:nvSpPr>
        <p:spPr>
          <a:xfrm>
            <a:off x="2159221" y="932723"/>
            <a:ext cx="2160427" cy="480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5" name="図プレースホルダー 19"/>
          <p:cNvSpPr>
            <a:spLocks noGrp="1"/>
          </p:cNvSpPr>
          <p:nvPr>
            <p:ph type="pic" sz="quarter" idx="12" hasCustomPrompt="1"/>
          </p:nvPr>
        </p:nvSpPr>
        <p:spPr>
          <a:xfrm>
            <a:off x="535412" y="2170492"/>
            <a:ext cx="5690094" cy="3200400"/>
          </a:xfrm>
          <a:solidFill>
            <a:schemeClr val="accent3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067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16" name="角丸四角形 7"/>
          <p:cNvSpPr/>
          <p:nvPr userDrawn="1"/>
        </p:nvSpPr>
        <p:spPr>
          <a:xfrm>
            <a:off x="535562" y="1845583"/>
            <a:ext cx="5690094" cy="324760"/>
          </a:xfrm>
          <a:custGeom>
            <a:avLst/>
            <a:gdLst/>
            <a:ahLst/>
            <a:cxnLst/>
            <a:rect l="l" t="t" r="r" b="b"/>
            <a:pathLst>
              <a:path w="8534400" h="487140">
                <a:moveTo>
                  <a:pt x="148176" y="0"/>
                </a:moveTo>
                <a:lnTo>
                  <a:pt x="8386224" y="0"/>
                </a:lnTo>
                <a:cubicBezTo>
                  <a:pt x="8468059" y="0"/>
                  <a:pt x="8534400" y="66341"/>
                  <a:pt x="8534400" y="148176"/>
                </a:cubicBezTo>
                <a:lnTo>
                  <a:pt x="8534400" y="487140"/>
                </a:lnTo>
                <a:lnTo>
                  <a:pt x="0" y="487140"/>
                </a:lnTo>
                <a:lnTo>
                  <a:pt x="0" y="148176"/>
                </a:lnTo>
                <a:cubicBezTo>
                  <a:pt x="0" y="66341"/>
                  <a:pt x="66341" y="0"/>
                  <a:pt x="14817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7" name="正方形/長方形 16"/>
          <p:cNvSpPr/>
          <p:nvPr userDrawn="1"/>
        </p:nvSpPr>
        <p:spPr>
          <a:xfrm>
            <a:off x="535562" y="2128010"/>
            <a:ext cx="5690094" cy="42333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grpSp>
        <p:nvGrpSpPr>
          <p:cNvPr id="18" name="グループ化 17"/>
          <p:cNvGrpSpPr/>
          <p:nvPr userDrawn="1"/>
        </p:nvGrpSpPr>
        <p:grpSpPr>
          <a:xfrm>
            <a:off x="657131" y="1938114"/>
            <a:ext cx="361981" cy="95250"/>
            <a:chOff x="2524125" y="1614487"/>
            <a:chExt cx="542925" cy="142875"/>
          </a:xfrm>
        </p:grpSpPr>
        <p:sp>
          <p:nvSpPr>
            <p:cNvPr id="19" name="円/楕円 18"/>
            <p:cNvSpPr/>
            <p:nvPr userDrawn="1"/>
          </p:nvSpPr>
          <p:spPr>
            <a:xfrm>
              <a:off x="2524125" y="1614487"/>
              <a:ext cx="142875" cy="1428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0" name="円/楕円 19"/>
            <p:cNvSpPr/>
            <p:nvPr userDrawn="1"/>
          </p:nvSpPr>
          <p:spPr>
            <a:xfrm>
              <a:off x="2724150" y="1614487"/>
              <a:ext cx="142875" cy="1428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1" name="円/楕円 20"/>
            <p:cNvSpPr/>
            <p:nvPr userDrawn="1"/>
          </p:nvSpPr>
          <p:spPr>
            <a:xfrm>
              <a:off x="2924175" y="1614487"/>
              <a:ext cx="142875" cy="14287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</p:grpSp>
      <p:grpSp>
        <p:nvGrpSpPr>
          <p:cNvPr id="22" name="グループ化 21"/>
          <p:cNvGrpSpPr/>
          <p:nvPr userDrawn="1"/>
        </p:nvGrpSpPr>
        <p:grpSpPr>
          <a:xfrm>
            <a:off x="5972541" y="1922238"/>
            <a:ext cx="133362" cy="127000"/>
            <a:chOff x="7781924" y="1704975"/>
            <a:chExt cx="200026" cy="190500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23" name="正方形/長方形 22"/>
            <p:cNvSpPr/>
            <p:nvPr userDrawn="1"/>
          </p:nvSpPr>
          <p:spPr>
            <a:xfrm>
              <a:off x="7781925" y="1704975"/>
              <a:ext cx="200025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4" name="正方形/長方形 23"/>
            <p:cNvSpPr/>
            <p:nvPr userDrawn="1"/>
          </p:nvSpPr>
          <p:spPr>
            <a:xfrm>
              <a:off x="7781925" y="1776413"/>
              <a:ext cx="200025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5" name="正方形/長方形 24"/>
            <p:cNvSpPr/>
            <p:nvPr userDrawn="1"/>
          </p:nvSpPr>
          <p:spPr>
            <a:xfrm>
              <a:off x="7781924" y="1847850"/>
              <a:ext cx="200025" cy="4762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</p:grpSp>
      <p:sp>
        <p:nvSpPr>
          <p:cNvPr id="38" name="正方形/長方形 37"/>
          <p:cNvSpPr/>
          <p:nvPr userDrawn="1"/>
        </p:nvSpPr>
        <p:spPr>
          <a:xfrm rot="2700000">
            <a:off x="1592122" y="2906409"/>
            <a:ext cx="8518860" cy="6415469"/>
          </a:xfrm>
          <a:custGeom>
            <a:avLst/>
            <a:gdLst/>
            <a:ahLst/>
            <a:cxnLst/>
            <a:rect l="l" t="t" r="r" b="b"/>
            <a:pathLst>
              <a:path w="12778290" h="9622369">
                <a:moveTo>
                  <a:pt x="2350963" y="1"/>
                </a:moveTo>
                <a:lnTo>
                  <a:pt x="12778290" y="0"/>
                </a:lnTo>
                <a:lnTo>
                  <a:pt x="3155921" y="9622369"/>
                </a:lnTo>
                <a:lnTo>
                  <a:pt x="0" y="9622369"/>
                </a:lnTo>
                <a:lnTo>
                  <a:pt x="5986665" y="3635704"/>
                </a:lnTo>
                <a:close/>
              </a:path>
            </a:pathLst>
          </a:cu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8" name="正方形/長方形 27"/>
          <p:cNvSpPr/>
          <p:nvPr userDrawn="1"/>
        </p:nvSpPr>
        <p:spPr>
          <a:xfrm>
            <a:off x="6582653" y="4396144"/>
            <a:ext cx="2160427" cy="4800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29" name="テキスト プレースホルダー 6"/>
          <p:cNvSpPr>
            <a:spLocks noGrp="1"/>
          </p:cNvSpPr>
          <p:nvPr>
            <p:ph type="body" sz="quarter" idx="24" hasCustomPrompt="1"/>
          </p:nvPr>
        </p:nvSpPr>
        <p:spPr>
          <a:xfrm>
            <a:off x="6522320" y="4476698"/>
            <a:ext cx="5196564" cy="1500769"/>
          </a:xfrm>
        </p:spPr>
        <p:txBody>
          <a:bodyPr anchor="t">
            <a:noAutofit/>
          </a:bodyPr>
          <a:lstStyle>
            <a:lvl1pPr algn="l">
              <a:defRPr sz="1333" i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1" name="テキスト プレースホルダー 6"/>
          <p:cNvSpPr>
            <a:spLocks noGrp="1"/>
          </p:cNvSpPr>
          <p:nvPr>
            <p:ph type="body" sz="quarter" idx="48" hasCustomPrompt="1"/>
          </p:nvPr>
        </p:nvSpPr>
        <p:spPr>
          <a:xfrm>
            <a:off x="6953138" y="1857789"/>
            <a:ext cx="4748811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2" name="円/楕円 31"/>
          <p:cNvSpPr/>
          <p:nvPr userDrawn="1"/>
        </p:nvSpPr>
        <p:spPr>
          <a:xfrm>
            <a:off x="6582654" y="2049239"/>
            <a:ext cx="272907" cy="27288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3" name="テキスト プレースホルダー 6"/>
          <p:cNvSpPr>
            <a:spLocks noGrp="1"/>
          </p:cNvSpPr>
          <p:nvPr>
            <p:ph type="body" sz="quarter" idx="49" hasCustomPrompt="1"/>
          </p:nvPr>
        </p:nvSpPr>
        <p:spPr>
          <a:xfrm>
            <a:off x="6953138" y="2624408"/>
            <a:ext cx="4748811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4" name="円/楕円 33"/>
          <p:cNvSpPr/>
          <p:nvPr userDrawn="1"/>
        </p:nvSpPr>
        <p:spPr>
          <a:xfrm>
            <a:off x="6582654" y="2815857"/>
            <a:ext cx="272907" cy="27288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5" name="テキスト プレースホルダー 6"/>
          <p:cNvSpPr>
            <a:spLocks noGrp="1"/>
          </p:cNvSpPr>
          <p:nvPr>
            <p:ph type="body" sz="quarter" idx="50" hasCustomPrompt="1"/>
          </p:nvPr>
        </p:nvSpPr>
        <p:spPr>
          <a:xfrm>
            <a:off x="6953138" y="3391026"/>
            <a:ext cx="4748811" cy="655782"/>
          </a:xfrm>
        </p:spPr>
        <p:txBody>
          <a:bodyPr anchor="ctr">
            <a:noAutofit/>
          </a:bodyPr>
          <a:lstStyle>
            <a:lvl1pPr algn="l">
              <a:defRPr sz="1200" b="0" i="0" u="none" baseline="0">
                <a:solidFill>
                  <a:schemeClr val="tx2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6" name="円/楕円 35"/>
          <p:cNvSpPr/>
          <p:nvPr userDrawn="1"/>
        </p:nvSpPr>
        <p:spPr>
          <a:xfrm>
            <a:off x="6582654" y="3582475"/>
            <a:ext cx="272907" cy="27288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7" name="円/楕円 36"/>
          <p:cNvSpPr/>
          <p:nvPr userDrawn="1"/>
        </p:nvSpPr>
        <p:spPr>
          <a:xfrm>
            <a:off x="1555534" y="905648"/>
            <a:ext cx="384076" cy="38404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39" name="円/楕円 13"/>
          <p:cNvSpPr/>
          <p:nvPr userDrawn="1"/>
        </p:nvSpPr>
        <p:spPr>
          <a:xfrm>
            <a:off x="31596" y="0"/>
            <a:ext cx="912180" cy="681270"/>
          </a:xfrm>
          <a:custGeom>
            <a:avLst/>
            <a:gdLst/>
            <a:ahLst/>
            <a:cxnLst/>
            <a:rect l="l" t="t" r="r" b="b"/>
            <a:pathLst>
              <a:path w="1368152" h="1021905">
                <a:moveTo>
                  <a:pt x="92597" y="0"/>
                </a:moveTo>
                <a:lnTo>
                  <a:pt x="1275555" y="0"/>
                </a:lnTo>
                <a:cubicBezTo>
                  <a:pt x="1335432" y="98498"/>
                  <a:pt x="1368152" y="214342"/>
                  <a:pt x="1368152" y="337829"/>
                </a:cubicBezTo>
                <a:cubicBezTo>
                  <a:pt x="1368152" y="715634"/>
                  <a:pt x="1061881" y="1021905"/>
                  <a:pt x="684076" y="1021905"/>
                </a:cubicBezTo>
                <a:cubicBezTo>
                  <a:pt x="306271" y="1021905"/>
                  <a:pt x="0" y="715634"/>
                  <a:pt x="0" y="337829"/>
                </a:cubicBezTo>
                <a:cubicBezTo>
                  <a:pt x="0" y="214342"/>
                  <a:pt x="32720" y="98498"/>
                  <a:pt x="9259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40" name="円/楕円 39"/>
          <p:cNvSpPr/>
          <p:nvPr userDrawn="1"/>
        </p:nvSpPr>
        <p:spPr>
          <a:xfrm>
            <a:off x="681974" y="681271"/>
            <a:ext cx="528104" cy="52805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41" name="円/楕円 40"/>
          <p:cNvSpPr/>
          <p:nvPr userDrawn="1"/>
        </p:nvSpPr>
        <p:spPr>
          <a:xfrm>
            <a:off x="1207829" y="149092"/>
            <a:ext cx="661953" cy="66189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42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7005935" y="6309239"/>
            <a:ext cx="3860800" cy="365125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ja-JP" altLang="en-US" dirty="0"/>
          </a:p>
        </p:txBody>
      </p:sp>
      <p:sp>
        <p:nvSpPr>
          <p:cNvPr id="43" name="円/楕円 42"/>
          <p:cNvSpPr/>
          <p:nvPr userDrawn="1"/>
        </p:nvSpPr>
        <p:spPr>
          <a:xfrm>
            <a:off x="11022059" y="6100230"/>
            <a:ext cx="289591" cy="2895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44" name="円/楕円 43"/>
          <p:cNvSpPr/>
          <p:nvPr userDrawn="1"/>
        </p:nvSpPr>
        <p:spPr>
          <a:xfrm>
            <a:off x="11435106" y="6111048"/>
            <a:ext cx="720142" cy="7200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45" name="円/楕円 19"/>
          <p:cNvSpPr/>
          <p:nvPr userDrawn="1"/>
        </p:nvSpPr>
        <p:spPr>
          <a:xfrm>
            <a:off x="10860585" y="6469495"/>
            <a:ext cx="480095" cy="388506"/>
          </a:xfrm>
          <a:custGeom>
            <a:avLst/>
            <a:gdLst/>
            <a:ahLst/>
            <a:cxnLst/>
            <a:rect l="l" t="t" r="r" b="b"/>
            <a:pathLst>
              <a:path w="720080" h="582759">
                <a:moveTo>
                  <a:pt x="360040" y="0"/>
                </a:moveTo>
                <a:cubicBezTo>
                  <a:pt x="558884" y="0"/>
                  <a:pt x="720080" y="161195"/>
                  <a:pt x="720080" y="360040"/>
                </a:cubicBezTo>
                <a:cubicBezTo>
                  <a:pt x="720080" y="444579"/>
                  <a:pt x="690944" y="522313"/>
                  <a:pt x="640920" y="582759"/>
                </a:cubicBezTo>
                <a:lnTo>
                  <a:pt x="79160" y="582759"/>
                </a:lnTo>
                <a:cubicBezTo>
                  <a:pt x="29136" y="522313"/>
                  <a:pt x="0" y="444579"/>
                  <a:pt x="0" y="360040"/>
                </a:cubicBezTo>
                <a:cubicBezTo>
                  <a:pt x="0" y="161195"/>
                  <a:pt x="161195" y="0"/>
                  <a:pt x="36004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4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11435106" y="6288526"/>
            <a:ext cx="720142" cy="365125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1867">
                <a:solidFill>
                  <a:schemeClr val="bg1"/>
                </a:solidFill>
              </a:defRPr>
            </a:lvl1pPr>
          </a:lstStyle>
          <a:p>
            <a:fld id="{E6459DFB-86F3-43FA-8567-2EA6E426AE90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780842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9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4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4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9" decel="10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4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4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9" decel="10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4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4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4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" presetClass="entr" presetSubtype="9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4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" presetClass="entr" presetSubtype="6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4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4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" presetClass="entr" presetSubtype="6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4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4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4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" presetClass="entr" presetSubtype="6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4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4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" presetClass="entr" presetSubtype="1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750"/>
                            </p:stCondLst>
                            <p:childTnLst>
                              <p:par>
                                <p:cTn id="6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250"/>
                            </p:stCondLst>
                            <p:childTnLst>
                              <p:par>
                                <p:cTn id="73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750"/>
                            </p:stCondLst>
                            <p:childTnLst>
                              <p:par>
                                <p:cTn id="77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3750"/>
                            </p:stCondLst>
                            <p:childTnLst>
                              <p:par>
                                <p:cTn id="1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4250"/>
                            </p:stCondLst>
                            <p:childTnLst>
                              <p:par>
                                <p:cTn id="1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4750"/>
                            </p:stCondLst>
                            <p:childTnLst>
                              <p:par>
                                <p:cTn id="1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3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250"/>
                            </p:stCondLst>
                            <p:childTnLst>
                              <p:par>
                                <p:cTn id="1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5750"/>
                            </p:stCondLst>
                            <p:childTnLst>
                              <p:par>
                                <p:cTn id="1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6250"/>
                            </p:stCondLst>
                            <p:childTnLst>
                              <p:par>
                                <p:cTn id="1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6750"/>
                            </p:stCondLst>
                            <p:childTnLst>
                              <p:par>
                                <p:cTn id="1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9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7250"/>
                            </p:stCondLst>
                            <p:childTnLst>
                              <p:par>
                                <p:cTn id="141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3" grpId="0"/>
      <p:bldP spid="13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38" grpId="0" animBg="1"/>
      <p:bldP spid="28" grpId="0" animBg="1"/>
      <p:bldP spid="29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animBg="1"/>
      <p:bldP spid="3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/>
      <p:bldP spid="35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animBg="1"/>
      <p:bldP spid="37" grpId="0" animBg="1"/>
      <p:bldP spid="37" grpId="1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and Animated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図プレースホルダー 34"/>
          <p:cNvSpPr>
            <a:spLocks noGrp="1"/>
          </p:cNvSpPr>
          <p:nvPr>
            <p:ph type="pic" sz="quarter" idx="14" hasCustomPrompt="1"/>
          </p:nvPr>
        </p:nvSpPr>
        <p:spPr>
          <a:xfrm>
            <a:off x="1397122" y="0"/>
            <a:ext cx="12192000" cy="6858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26" name="テキスト プレースホルダー 25"/>
          <p:cNvSpPr>
            <a:spLocks noGrp="1"/>
          </p:cNvSpPr>
          <p:nvPr>
            <p:ph type="body" sz="quarter" idx="11" hasCustomPrompt="1"/>
          </p:nvPr>
        </p:nvSpPr>
        <p:spPr>
          <a:xfrm flipH="1">
            <a:off x="1072940" y="0"/>
            <a:ext cx="5738479" cy="6858000"/>
          </a:xfrm>
          <a:prstGeom prst="parallelogram">
            <a:avLst>
              <a:gd name="adj" fmla="val 41863"/>
            </a:avLst>
          </a:prstGeom>
          <a:solidFill>
            <a:schemeClr val="accent1">
              <a:lumMod val="75000"/>
              <a:alpha val="4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31" name="テキスト プレースホルダー 25"/>
          <p:cNvSpPr>
            <a:spLocks noGrp="1"/>
          </p:cNvSpPr>
          <p:nvPr>
            <p:ph type="body" sz="quarter" idx="13" hasCustomPrompt="1"/>
          </p:nvPr>
        </p:nvSpPr>
        <p:spPr>
          <a:xfrm flipH="1">
            <a:off x="7985364" y="0"/>
            <a:ext cx="5738479" cy="6858000"/>
          </a:xfrm>
          <a:prstGeom prst="parallelogram">
            <a:avLst>
              <a:gd name="adj" fmla="val 41863"/>
            </a:avLst>
          </a:prstGeom>
          <a:solidFill>
            <a:schemeClr val="accent1">
              <a:lumMod val="75000"/>
              <a:alpha val="4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36" name="テキスト プレースホルダー 25"/>
          <p:cNvSpPr>
            <a:spLocks noGrp="1"/>
          </p:cNvSpPr>
          <p:nvPr>
            <p:ph type="body" sz="quarter" idx="15" hasCustomPrompt="1"/>
          </p:nvPr>
        </p:nvSpPr>
        <p:spPr>
          <a:xfrm flipH="1">
            <a:off x="-3127798" y="0"/>
            <a:ext cx="9277247" cy="6858000"/>
          </a:xfrm>
          <a:prstGeom prst="parallelogram">
            <a:avLst>
              <a:gd name="adj" fmla="val 35022"/>
            </a:avLst>
          </a:prstGeom>
          <a:solidFill>
            <a:schemeClr val="accent1">
              <a:lumMod val="75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37" name="テキスト プレースホルダー 25"/>
          <p:cNvSpPr>
            <a:spLocks noGrp="1"/>
          </p:cNvSpPr>
          <p:nvPr>
            <p:ph type="body" sz="quarter" idx="16" hasCustomPrompt="1"/>
          </p:nvPr>
        </p:nvSpPr>
        <p:spPr>
          <a:xfrm flipH="1">
            <a:off x="8643100" y="0"/>
            <a:ext cx="9277247" cy="6858000"/>
          </a:xfrm>
          <a:prstGeom prst="parallelogram">
            <a:avLst>
              <a:gd name="adj" fmla="val 35022"/>
            </a:avLst>
          </a:prstGeom>
          <a:solidFill>
            <a:schemeClr val="accent1">
              <a:lumMod val="75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38" name="テキスト プレースホルダー 25"/>
          <p:cNvSpPr>
            <a:spLocks noGrp="1"/>
          </p:cNvSpPr>
          <p:nvPr>
            <p:ph type="body" sz="quarter" idx="17" hasCustomPrompt="1"/>
          </p:nvPr>
        </p:nvSpPr>
        <p:spPr>
          <a:xfrm flipH="1">
            <a:off x="-6331500" y="0"/>
            <a:ext cx="3569010" cy="6858000"/>
          </a:xfrm>
          <a:prstGeom prst="parallelogram">
            <a:avLst>
              <a:gd name="adj" fmla="val 67559"/>
            </a:avLst>
          </a:prstGeom>
          <a:solidFill>
            <a:schemeClr val="bg1">
              <a:alpha val="3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39" name="テキスト プレースホルダー 25"/>
          <p:cNvSpPr>
            <a:spLocks noGrp="1"/>
          </p:cNvSpPr>
          <p:nvPr>
            <p:ph type="body" sz="quarter" idx="18" hasCustomPrompt="1"/>
          </p:nvPr>
        </p:nvSpPr>
        <p:spPr>
          <a:xfrm flipH="1">
            <a:off x="-4413638" y="0"/>
            <a:ext cx="3099074" cy="6858000"/>
          </a:xfrm>
          <a:prstGeom prst="parallelogram">
            <a:avLst>
              <a:gd name="adj" fmla="val 77247"/>
            </a:avLst>
          </a:prstGeom>
          <a:solidFill>
            <a:schemeClr val="bg1">
              <a:alpha val="30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40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372702" y="2703891"/>
            <a:ext cx="4823863" cy="2208254"/>
          </a:xfrm>
          <a:prstGeom prst="rect">
            <a:avLst/>
          </a:prstGeom>
        </p:spPr>
        <p:txBody>
          <a:bodyPr vert="horz" lIns="163275" tIns="81638" rIns="163275" bIns="81638" rtlCol="0" anchor="b">
            <a:normAutofit/>
          </a:bodyPr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42" name="テキスト プレースホルダー 6"/>
          <p:cNvSpPr>
            <a:spLocks noGrp="1"/>
          </p:cNvSpPr>
          <p:nvPr>
            <p:ph type="body" sz="quarter" idx="42" hasCustomPrompt="1"/>
          </p:nvPr>
        </p:nvSpPr>
        <p:spPr>
          <a:xfrm>
            <a:off x="378147" y="5111521"/>
            <a:ext cx="4818418" cy="1390878"/>
          </a:xfrm>
        </p:spPr>
        <p:txBody>
          <a:bodyPr>
            <a:noAutofit/>
          </a:bodyPr>
          <a:lstStyle>
            <a:lvl1pPr algn="l">
              <a:defRPr sz="1333" b="0" i="0" u="none" baseline="0">
                <a:solidFill>
                  <a:schemeClr val="bg1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Description goes here</a:t>
            </a:r>
            <a:endParaRPr kumimoji="1" lang="ja-JP" altLang="en-US" dirty="0"/>
          </a:p>
        </p:txBody>
      </p:sp>
      <p:sp>
        <p:nvSpPr>
          <p:cNvPr id="44" name="テキスト プレースホルダー 6"/>
          <p:cNvSpPr>
            <a:spLocks noGrp="1"/>
          </p:cNvSpPr>
          <p:nvPr>
            <p:ph type="body" sz="quarter" idx="43" hasCustomPrompt="1"/>
          </p:nvPr>
        </p:nvSpPr>
        <p:spPr>
          <a:xfrm rot="4250327">
            <a:off x="7319640" y="2147068"/>
            <a:ext cx="7132647" cy="2679933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1334" b="0" i="0" u="none" baseline="0">
                <a:solidFill>
                  <a:schemeClr val="bg1">
                    <a:alpha val="30000"/>
                  </a:schemeClr>
                </a:solidFill>
                <a:latin typeface="Route 159 Bold" pitchFamily="50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WORD</a:t>
            </a:r>
            <a:endParaRPr kumimoji="1" lang="ja-JP" altLang="en-US" dirty="0"/>
          </a:p>
        </p:txBody>
      </p:sp>
      <p:sp>
        <p:nvSpPr>
          <p:cNvPr id="45" name="テキスト プレースホルダー 6"/>
          <p:cNvSpPr>
            <a:spLocks noGrp="1"/>
          </p:cNvSpPr>
          <p:nvPr>
            <p:ph type="body" sz="quarter" idx="44" hasCustomPrompt="1"/>
          </p:nvPr>
        </p:nvSpPr>
        <p:spPr>
          <a:xfrm>
            <a:off x="441048" y="4990568"/>
            <a:ext cx="2160187" cy="48000"/>
          </a:xfrm>
          <a:solidFill>
            <a:schemeClr val="bg1"/>
          </a:solidFill>
        </p:spPr>
        <p:txBody>
          <a:bodyPr>
            <a:noAutofit/>
          </a:bodyPr>
          <a:lstStyle>
            <a:lvl1pPr algn="l">
              <a:defRPr sz="1333" b="0" i="0" u="none" baseline="0">
                <a:solidFill>
                  <a:schemeClr val="bg1"/>
                </a:solidFill>
                <a:latin typeface="+mn-lt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9204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4" presetClass="entr" presetSubtype="1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" presetClass="entr" presetSubtype="2" ac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ac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3" decel="10000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9" decel="100000" fill="hold" grpId="0" nodeType="withEffect">
                                  <p:stCondLst>
                                    <p:cond delay="7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26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20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20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20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20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animBg="1">
        <p:tmplLst>
          <p:tmpl>
            <p:tnLst>
              <p:par>
                <p:cTn presetID="2" presetClass="entr" presetSubtype="8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animBg="1">
        <p:tmplLst>
          <p:tmpl>
            <p:tnLst>
              <p:par>
                <p:cTn presetID="2" presetClass="entr" presetSubtype="2" ac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animBg="1">
        <p:tmplLst>
          <p:tmpl>
            <p:tnLst>
              <p:par>
                <p:cTn presetID="2" presetClass="entr" presetSubtype="2" ac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/>
      <p:bldP spid="4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2" presetClass="entr" presetSubtype="3" decel="100000" fill="hold" nodeType="withEffect">
                  <p:stCondLst>
                    <p:cond delay="25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図プレースホルダー 3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117"/>
            <a:ext cx="12192000" cy="6858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4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0" y="5708953"/>
            <a:ext cx="6095471" cy="780411"/>
          </a:xfrm>
          <a:prstGeom prst="rect">
            <a:avLst/>
          </a:prstGeom>
          <a:solidFill>
            <a:schemeClr val="tx2">
              <a:alpha val="70000"/>
            </a:schemeClr>
          </a:solidFill>
        </p:spPr>
        <p:txBody>
          <a:bodyPr vert="horz" lIns="163275" tIns="81638" rIns="163275" bIns="81638" rtlCol="0" anchor="ctr">
            <a:normAutofit/>
          </a:bodyPr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21760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図プレースホルダー 3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117"/>
            <a:ext cx="12192000" cy="6858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34921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&amp;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図プレースホルダー 3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117"/>
            <a:ext cx="12192000" cy="6858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3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-1" y="4518781"/>
            <a:ext cx="12192001" cy="1228876"/>
          </a:xfrm>
          <a:prstGeom prst="rect">
            <a:avLst/>
          </a:prstGeom>
          <a:solidFill>
            <a:schemeClr val="tx2">
              <a:alpha val="50000"/>
            </a:schemeClr>
          </a:solidFill>
        </p:spPr>
        <p:txBody>
          <a:bodyPr vert="horz" lIns="163275" tIns="81638" rIns="163275" bIns="81638" rtlCol="0" anchor="ctr">
            <a:normAutofit/>
          </a:bodyPr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5" hasCustomPrompt="1"/>
          </p:nvPr>
        </p:nvSpPr>
        <p:spPr>
          <a:xfrm>
            <a:off x="304297" y="4596492"/>
            <a:ext cx="11583405" cy="103505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6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kumimoji="1" lang="en-US" altLang="ja-JP" dirty="0"/>
              <a:t>Tex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53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" presetClass="entr" presetSubtype="3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5" grpId="0" build="p">
        <p:tmplLst>
          <p:tmpl lvl="1">
            <p:tnLst>
              <p:par>
                <p:cTn presetID="2" presetClass="entr" presetSubtype="3" decel="100000" fill="hold" nodeType="afterEffect">
                  <p:stCondLst>
                    <p:cond delay="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図プレースホルダー 3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2117"/>
            <a:ext cx="12192000" cy="6858000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>
            <a:lvl1pPr>
              <a:defRPr baseline="0"/>
            </a:lvl1pPr>
          </a:lstStyle>
          <a:p>
            <a:r>
              <a:rPr kumimoji="1" lang="en-US" altLang="ja-JP" dirty="0"/>
              <a:t>Add an image</a:t>
            </a:r>
            <a:endParaRPr kumimoji="1" lang="ja-JP" altLang="en-US" dirty="0"/>
          </a:p>
        </p:txBody>
      </p:sp>
      <p:sp>
        <p:nvSpPr>
          <p:cNvPr id="4" name="テキスト プレースホルダー 4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77634"/>
            <a:ext cx="12192000" cy="1035050"/>
          </a:xfrm>
          <a:solidFill>
            <a:schemeClr val="tx2">
              <a:alpha val="40000"/>
            </a:schemeClr>
          </a:solidFill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8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kumimoji="1" lang="en-US" altLang="ja-JP" dirty="0"/>
              <a:t> </a:t>
            </a:r>
            <a:endParaRPr kumimoji="1" lang="ja-JP" altLang="en-US" dirty="0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15" hasCustomPrompt="1"/>
          </p:nvPr>
        </p:nvSpPr>
        <p:spPr>
          <a:xfrm>
            <a:off x="304297" y="677635"/>
            <a:ext cx="11583405" cy="1035050"/>
          </a:xfrm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kumimoji="1" lang="en-US" altLang="ja-JP" dirty="0"/>
              <a:t>Tex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58409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5" presetClass="entr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>
        <p:tmplLst>
          <p:tmpl>
            <p:tnLst>
              <p:par>
                <p:cTn presetID="16" presetClass="entr" presetSubtype="37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barn(outVertical)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" grpId="1" build="p">
        <p:tmplLst>
          <p:tmpl lvl="1">
            <p:tnLst>
              <p:par>
                <p:cTn presetID="45" presetClass="entr" presetSubtype="0" fill="hold" nodeType="with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5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 fmla="#ppt_w*sin(2.5*pi*$)">
                          <p:val>
                            <p:fltVal val="0"/>
                          </p:val>
                        </p:tav>
                        <p:tav tm="100000">
                          <p:val>
                            <p:fltVal val="1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h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0899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4672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 hasCustomPrompt="1"/>
          </p:nvPr>
        </p:nvSpPr>
        <p:spPr>
          <a:xfrm>
            <a:off x="483852" y="1886858"/>
            <a:ext cx="11218899" cy="2912533"/>
          </a:xfrm>
          <a:prstGeom prst="rect">
            <a:avLst/>
          </a:prstGeom>
        </p:spPr>
        <p:txBody>
          <a:bodyPr vert="horz" lIns="163275" tIns="81638" rIns="163275" bIns="81638" rtlCol="0" anchor="ctr">
            <a:normAutofit/>
          </a:bodyPr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kumimoji="1" lang="en-US" altLang="ja-JP" dirty="0"/>
              <a:t>Message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46229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5" presetClass="entr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/>
          <p:cNvSpPr/>
          <p:nvPr userDrawn="1"/>
        </p:nvSpPr>
        <p:spPr>
          <a:xfrm>
            <a:off x="0" y="3976048"/>
            <a:ext cx="12192000" cy="2881952"/>
          </a:xfrm>
          <a:prstGeom prst="rect">
            <a:avLst/>
          </a:prstGeom>
          <a:solidFill>
            <a:schemeClr val="tx2"/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>
              <a:solidFill>
                <a:schemeClr val="accent6"/>
              </a:solidFill>
            </a:endParaRPr>
          </a:p>
        </p:txBody>
      </p:sp>
      <p:sp>
        <p:nvSpPr>
          <p:cNvPr id="2" name="正方形/長方形 1"/>
          <p:cNvSpPr/>
          <p:nvPr userDrawn="1"/>
        </p:nvSpPr>
        <p:spPr>
          <a:xfrm>
            <a:off x="0" y="0"/>
            <a:ext cx="12192000" cy="74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4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7005935" y="6309239"/>
            <a:ext cx="3860800" cy="365125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ja-JP" altLang="en-US" dirty="0"/>
          </a:p>
        </p:txBody>
      </p:sp>
      <p:sp>
        <p:nvSpPr>
          <p:cNvPr id="5" name="円/楕円 4"/>
          <p:cNvSpPr/>
          <p:nvPr userDrawn="1"/>
        </p:nvSpPr>
        <p:spPr>
          <a:xfrm>
            <a:off x="11022059" y="6100230"/>
            <a:ext cx="289591" cy="2895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6" name="円/楕円 5"/>
          <p:cNvSpPr/>
          <p:nvPr userDrawn="1"/>
        </p:nvSpPr>
        <p:spPr>
          <a:xfrm>
            <a:off x="11435106" y="6111048"/>
            <a:ext cx="720142" cy="72008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7" name="円/楕円 19"/>
          <p:cNvSpPr/>
          <p:nvPr userDrawn="1"/>
        </p:nvSpPr>
        <p:spPr>
          <a:xfrm>
            <a:off x="10860585" y="6469495"/>
            <a:ext cx="480095" cy="388506"/>
          </a:xfrm>
          <a:custGeom>
            <a:avLst/>
            <a:gdLst/>
            <a:ahLst/>
            <a:cxnLst/>
            <a:rect l="l" t="t" r="r" b="b"/>
            <a:pathLst>
              <a:path w="720080" h="582759">
                <a:moveTo>
                  <a:pt x="360040" y="0"/>
                </a:moveTo>
                <a:cubicBezTo>
                  <a:pt x="558884" y="0"/>
                  <a:pt x="720080" y="161195"/>
                  <a:pt x="720080" y="360040"/>
                </a:cubicBezTo>
                <a:cubicBezTo>
                  <a:pt x="720080" y="444579"/>
                  <a:pt x="690944" y="522313"/>
                  <a:pt x="640920" y="582759"/>
                </a:cubicBezTo>
                <a:lnTo>
                  <a:pt x="79160" y="582759"/>
                </a:lnTo>
                <a:cubicBezTo>
                  <a:pt x="29136" y="522313"/>
                  <a:pt x="0" y="444579"/>
                  <a:pt x="0" y="360040"/>
                </a:cubicBezTo>
                <a:cubicBezTo>
                  <a:pt x="0" y="161195"/>
                  <a:pt x="161195" y="0"/>
                  <a:pt x="36004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8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11435106" y="6288526"/>
            <a:ext cx="720142" cy="365125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1867">
                <a:solidFill>
                  <a:schemeClr val="bg1"/>
                </a:solidFill>
              </a:defRPr>
            </a:lvl1pPr>
          </a:lstStyle>
          <a:p>
            <a:fld id="{E6459DFB-86F3-43FA-8567-2EA6E426AE90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73232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6" decel="10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4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4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6" decel="10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6" decel="100000" fill="hold" grpId="1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"/>
                            </p:stCondLst>
                            <p:childTnLst>
                              <p:par>
                                <p:cTn id="33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4" grpId="0"/>
      <p:bldP spid="5" grpId="0" animBg="1"/>
      <p:bldP spid="5" grpId="1" animBg="1"/>
      <p:bldP spid="6" grpId="0" animBg="1"/>
      <p:bldP spid="6" grpId="1" animBg="1"/>
      <p:bldP spid="7" grpId="0" animBg="1"/>
      <p:bldP spid="7" grpId="1" animBg="1"/>
      <p:bldP spid="8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>
            <a:extLst>
              <a:ext uri="{FF2B5EF4-FFF2-40B4-BE49-F238E27FC236}">
                <a16:creationId xmlns:a16="http://schemas.microsoft.com/office/drawing/2014/main" id="{6E5F2ACF-A3A0-4307-AF75-8E4130D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447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物件 2" hidden="1">
                        <a:extLst>
                          <a:ext uri="{FF2B5EF4-FFF2-40B4-BE49-F238E27FC236}">
                            <a16:creationId xmlns:a16="http://schemas.microsoft.com/office/drawing/2014/main" id="{6E5F2ACF-A3A0-4307-AF75-8E4130D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>
            <a:extLst>
              <a:ext uri="{FF2B5EF4-FFF2-40B4-BE49-F238E27FC236}">
                <a16:creationId xmlns:a16="http://schemas.microsoft.com/office/drawing/2014/main" id="{3DF3E22A-32CA-4ACC-B8DC-27DA9E2F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4292" y="3186702"/>
            <a:ext cx="10515600" cy="697321"/>
          </a:xfrm>
          <a:prstGeom prst="rect">
            <a:avLst/>
          </a:prstGeo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A353F5F-0B22-47B2-9A79-2ED0294CB204}"/>
              </a:ext>
            </a:extLst>
          </p:cNvPr>
          <p:cNvSpPr/>
          <p:nvPr userDrawn="1"/>
        </p:nvSpPr>
        <p:spPr>
          <a:xfrm>
            <a:off x="11767002" y="6466216"/>
            <a:ext cx="424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D57F1E4F-1CFF-5643-939E-217C01CDF565}" type="slidenum">
              <a:rPr lang="en-US" altLang="zh-TW" sz="1200" smtClean="0">
                <a:solidFill>
                  <a:schemeClr val="tx1"/>
                </a:solidFill>
              </a:rPr>
              <a:pPr/>
              <a:t>‹#›</a:t>
            </a:fld>
            <a:endParaRPr lang="zh-TW" altLang="en-US" sz="12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F9E906-1927-4871-9695-225F53E3C7D2}"/>
              </a:ext>
            </a:extLst>
          </p:cNvPr>
          <p:cNvSpPr/>
          <p:nvPr userDrawn="1"/>
        </p:nvSpPr>
        <p:spPr>
          <a:xfrm rot="16200000">
            <a:off x="6039730" y="692542"/>
            <a:ext cx="108000" cy="1219654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4F81B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99B4020F-470D-4D11-B6F5-807CACE0FE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309925" y="31783"/>
            <a:ext cx="873820" cy="88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7591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910B29C-D606-4B02-B72E-9F7E59D04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86806F11-4018-4A16-8B24-5C878972AA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62C12159-ABF6-4852-ADF0-95A267F79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54A1931F-31A2-4DF8-8328-372BFDC51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7E78C7B8-1378-4CAA-B6DD-FD01A3E00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6101001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>
            <a:extLst>
              <a:ext uri="{FF2B5EF4-FFF2-40B4-BE49-F238E27FC236}">
                <a16:creationId xmlns:a16="http://schemas.microsoft.com/office/drawing/2014/main" id="{53CA4BC8-9CF1-4502-B85C-22C113A7F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頁尾版面配置區 2">
            <a:extLst>
              <a:ext uri="{FF2B5EF4-FFF2-40B4-BE49-F238E27FC236}">
                <a16:creationId xmlns:a16="http://schemas.microsoft.com/office/drawing/2014/main" id="{6D39A257-50CF-4E92-85EB-6C2F8C483F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95A94AA1-EA79-43CF-9FF1-82885B963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55926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y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F246FC87-D219-463B-8334-E16E14819052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9178591" y="1010532"/>
            <a:ext cx="2286000" cy="2743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16" indent="0">
              <a:buNone/>
              <a:defRPr sz="2800"/>
            </a:lvl2pPr>
            <a:lvl3pPr marL="914431" indent="0">
              <a:buNone/>
              <a:defRPr sz="2400"/>
            </a:lvl3pPr>
            <a:lvl4pPr marL="1371646" indent="0">
              <a:buNone/>
              <a:defRPr sz="2000"/>
            </a:lvl4pPr>
            <a:lvl5pPr marL="1828861" indent="0">
              <a:buNone/>
              <a:defRPr sz="2000"/>
            </a:lvl5pPr>
            <a:lvl6pPr marL="2286076" indent="0">
              <a:buNone/>
              <a:defRPr sz="2000"/>
            </a:lvl6pPr>
            <a:lvl7pPr marL="2743291" indent="0">
              <a:buNone/>
              <a:defRPr sz="2000"/>
            </a:lvl7pPr>
            <a:lvl8pPr marL="3200507" indent="0">
              <a:buNone/>
              <a:defRPr sz="2000"/>
            </a:lvl8pPr>
            <a:lvl9pPr marL="3657722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08C9F45-5627-4842-A3EA-25038EF99EC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186490" y="1010532"/>
            <a:ext cx="2286000" cy="2743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  <a:lvl2pPr marL="457216" indent="0">
              <a:buNone/>
              <a:defRPr sz="2800"/>
            </a:lvl2pPr>
            <a:lvl3pPr marL="914431" indent="0">
              <a:buNone/>
              <a:defRPr sz="2400"/>
            </a:lvl3pPr>
            <a:lvl4pPr marL="1371646" indent="0">
              <a:buNone/>
              <a:defRPr sz="2000"/>
            </a:lvl4pPr>
            <a:lvl5pPr marL="1828861" indent="0">
              <a:buNone/>
              <a:defRPr sz="2000"/>
            </a:lvl5pPr>
            <a:lvl6pPr marL="2286076" indent="0">
              <a:buNone/>
              <a:defRPr sz="2000"/>
            </a:lvl6pPr>
            <a:lvl7pPr marL="2743291" indent="0">
              <a:buNone/>
              <a:defRPr sz="2000"/>
            </a:lvl7pPr>
            <a:lvl8pPr marL="3200507" indent="0">
              <a:buNone/>
              <a:defRPr sz="2000"/>
            </a:lvl8pPr>
            <a:lvl9pPr marL="3657722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517821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Simple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E6459DFB-86F3-43FA-8567-2EA6E426AE90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5" name="正方形/長方形 4"/>
          <p:cNvSpPr/>
          <p:nvPr userDrawn="1"/>
        </p:nvSpPr>
        <p:spPr>
          <a:xfrm>
            <a:off x="0" y="0"/>
            <a:ext cx="12192000" cy="745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6" name="円/楕円 5"/>
          <p:cNvSpPr/>
          <p:nvPr userDrawn="1"/>
        </p:nvSpPr>
        <p:spPr>
          <a:xfrm>
            <a:off x="1771139" y="1896217"/>
            <a:ext cx="439509" cy="43947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dirty="0"/>
              <a:t>1</a:t>
            </a:r>
            <a:endParaRPr kumimoji="1" lang="ja-JP" altLang="en-US" sz="1200" dirty="0"/>
          </a:p>
        </p:txBody>
      </p:sp>
      <p:sp>
        <p:nvSpPr>
          <p:cNvPr id="7" name="円/楕円 6"/>
          <p:cNvSpPr/>
          <p:nvPr userDrawn="1"/>
        </p:nvSpPr>
        <p:spPr>
          <a:xfrm>
            <a:off x="1771139" y="2789402"/>
            <a:ext cx="439509" cy="43947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dirty="0"/>
              <a:t>2</a:t>
            </a:r>
          </a:p>
        </p:txBody>
      </p:sp>
      <p:sp>
        <p:nvSpPr>
          <p:cNvPr id="8" name="テキスト プレースホルダー 6"/>
          <p:cNvSpPr>
            <a:spLocks noGrp="1"/>
          </p:cNvSpPr>
          <p:nvPr>
            <p:ph type="body" sz="quarter" idx="28" hasCustomPrompt="1"/>
          </p:nvPr>
        </p:nvSpPr>
        <p:spPr>
          <a:xfrm>
            <a:off x="2374879" y="1823891"/>
            <a:ext cx="8208027" cy="594764"/>
          </a:xfrm>
        </p:spPr>
        <p:txBody>
          <a:bodyPr anchor="ctr">
            <a:no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9" name="テキスト プレースホルダー 6"/>
          <p:cNvSpPr>
            <a:spLocks noGrp="1"/>
          </p:cNvSpPr>
          <p:nvPr>
            <p:ph type="body" sz="quarter" idx="29" hasCustomPrompt="1"/>
          </p:nvPr>
        </p:nvSpPr>
        <p:spPr>
          <a:xfrm>
            <a:off x="2374879" y="2717076"/>
            <a:ext cx="8208027" cy="594764"/>
          </a:xfrm>
        </p:spPr>
        <p:txBody>
          <a:bodyPr anchor="ctr">
            <a:no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0" name="円/楕円 9"/>
          <p:cNvSpPr/>
          <p:nvPr userDrawn="1"/>
        </p:nvSpPr>
        <p:spPr>
          <a:xfrm>
            <a:off x="1771139" y="3682587"/>
            <a:ext cx="439509" cy="43947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dirty="0"/>
              <a:t>3</a:t>
            </a:r>
            <a:endParaRPr kumimoji="1" lang="ja-JP" altLang="en-US" sz="1200" dirty="0"/>
          </a:p>
        </p:txBody>
      </p:sp>
      <p:sp>
        <p:nvSpPr>
          <p:cNvPr id="11" name="テキスト プレースホルダー 6"/>
          <p:cNvSpPr>
            <a:spLocks noGrp="1"/>
          </p:cNvSpPr>
          <p:nvPr>
            <p:ph type="body" sz="quarter" idx="31" hasCustomPrompt="1"/>
          </p:nvPr>
        </p:nvSpPr>
        <p:spPr>
          <a:xfrm>
            <a:off x="2374879" y="3610261"/>
            <a:ext cx="8208027" cy="594764"/>
          </a:xfrm>
        </p:spPr>
        <p:txBody>
          <a:bodyPr anchor="ctr">
            <a:no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2" name="円/楕円 11"/>
          <p:cNvSpPr/>
          <p:nvPr userDrawn="1"/>
        </p:nvSpPr>
        <p:spPr>
          <a:xfrm>
            <a:off x="1771139" y="4575773"/>
            <a:ext cx="439509" cy="43947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dirty="0"/>
              <a:t>4</a:t>
            </a:r>
          </a:p>
        </p:txBody>
      </p:sp>
      <p:sp>
        <p:nvSpPr>
          <p:cNvPr id="13" name="テキスト プレースホルダー 6"/>
          <p:cNvSpPr>
            <a:spLocks noGrp="1"/>
          </p:cNvSpPr>
          <p:nvPr>
            <p:ph type="body" sz="quarter" idx="33" hasCustomPrompt="1"/>
          </p:nvPr>
        </p:nvSpPr>
        <p:spPr>
          <a:xfrm>
            <a:off x="2374879" y="4503447"/>
            <a:ext cx="8208027" cy="594764"/>
          </a:xfrm>
        </p:spPr>
        <p:txBody>
          <a:bodyPr anchor="ctr">
            <a:no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4" name="円/楕円 13"/>
          <p:cNvSpPr/>
          <p:nvPr userDrawn="1"/>
        </p:nvSpPr>
        <p:spPr>
          <a:xfrm>
            <a:off x="1771139" y="5468958"/>
            <a:ext cx="439509" cy="43947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200" dirty="0"/>
              <a:t>5</a:t>
            </a:r>
            <a:endParaRPr kumimoji="1" lang="ja-JP" altLang="en-US" sz="1200" dirty="0"/>
          </a:p>
        </p:txBody>
      </p:sp>
      <p:sp>
        <p:nvSpPr>
          <p:cNvPr id="15" name="テキスト プレースホルダー 6"/>
          <p:cNvSpPr>
            <a:spLocks noGrp="1"/>
          </p:cNvSpPr>
          <p:nvPr>
            <p:ph type="body" sz="quarter" idx="35" hasCustomPrompt="1"/>
          </p:nvPr>
        </p:nvSpPr>
        <p:spPr>
          <a:xfrm>
            <a:off x="2374879" y="5396632"/>
            <a:ext cx="8208027" cy="594764"/>
          </a:xfrm>
        </p:spPr>
        <p:txBody>
          <a:bodyPr anchor="ctr">
            <a:noAutofit/>
          </a:bodyPr>
          <a:lstStyle>
            <a:lvl1pPr algn="l">
              <a:defRPr sz="1333" i="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16" name="正方形/長方形 15"/>
          <p:cNvSpPr/>
          <p:nvPr userDrawn="1"/>
        </p:nvSpPr>
        <p:spPr>
          <a:xfrm>
            <a:off x="0" y="0"/>
            <a:ext cx="12192000" cy="13449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7" name="タイトル 1"/>
          <p:cNvSpPr>
            <a:spLocks noGrp="1"/>
          </p:cNvSpPr>
          <p:nvPr>
            <p:ph type="title" hasCustomPrompt="1"/>
          </p:nvPr>
        </p:nvSpPr>
        <p:spPr>
          <a:xfrm>
            <a:off x="589917" y="304800"/>
            <a:ext cx="11012164" cy="774095"/>
          </a:xfrm>
        </p:spPr>
        <p:txBody>
          <a:bodyPr>
            <a:noAutofit/>
          </a:bodyPr>
          <a:lstStyle>
            <a:lvl1pPr algn="ctr">
              <a:defRPr sz="4400">
                <a:solidFill>
                  <a:schemeClr val="bg1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Tex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45136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1" decel="10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500"/>
                            </p:stCondLst>
                            <p:childTnLst>
                              <p:par>
                                <p:cTn id="32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500"/>
                            </p:stCondLst>
                            <p:childTnLst>
                              <p:par>
                                <p:cTn id="50" presetID="2" presetClass="entr" presetSubtype="1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/>
      <p:bldP spid="11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animBg="1"/>
      <p:bldP spid="1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animBg="1"/>
      <p:bldP spid="15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animBg="1"/>
      <p:bldP spid="17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章節標題" type="secHead">
  <p:cSld name="章節標題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0"/>
          <p:cNvSpPr/>
          <p:nvPr/>
        </p:nvSpPr>
        <p:spPr>
          <a:xfrm>
            <a:off x="581191" y="5141974"/>
            <a:ext cx="11029615" cy="125882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7;p20"/>
          <p:cNvSpPr txBox="1">
            <a:spLocks noGrp="1"/>
          </p:cNvSpPr>
          <p:nvPr>
            <p:ph type="title"/>
          </p:nvPr>
        </p:nvSpPr>
        <p:spPr>
          <a:xfrm>
            <a:off x="581193" y="2393950"/>
            <a:ext cx="11029615" cy="2147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600"/>
              <a:buFont typeface="Arial"/>
              <a:buNone/>
              <a:defRPr sz="3600" b="0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0"/>
          <p:cNvSpPr txBox="1"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spcBef>
                <a:spcPts val="360"/>
              </a:spcBef>
              <a:spcAft>
                <a:spcPts val="0"/>
              </a:spcAft>
              <a:buSzPts val="1656"/>
              <a:buNone/>
              <a:defRPr sz="180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SzPts val="1656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288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288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>
              <a:spcBef>
                <a:spcPts val="600"/>
              </a:spcBef>
              <a:spcAft>
                <a:spcPts val="0"/>
              </a:spcAft>
              <a:buSzPts val="1288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>
              <a:spcBef>
                <a:spcPts val="600"/>
              </a:spcBef>
              <a:spcAft>
                <a:spcPts val="0"/>
              </a:spcAft>
              <a:buSzPts val="1288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>
              <a:spcBef>
                <a:spcPts val="600"/>
              </a:spcBef>
              <a:spcAft>
                <a:spcPts val="0"/>
              </a:spcAft>
              <a:buSzPts val="1288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>
              <a:spcBef>
                <a:spcPts val="600"/>
              </a:spcBef>
              <a:spcAft>
                <a:spcPts val="600"/>
              </a:spcAft>
              <a:buSzPts val="1288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20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0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0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" name="Google Shape;22;p20"/>
          <p:cNvSpPr/>
          <p:nvPr/>
        </p:nvSpPr>
        <p:spPr>
          <a:xfrm>
            <a:off x="109259" y="5552029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4245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縮小內容規模大型影像">
  <p:cSld name="縮小內容規模大型影像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1"/>
          <p:cNvSpPr>
            <a:spLocks noGrp="1"/>
          </p:cNvSpPr>
          <p:nvPr>
            <p:ph type="pic" idx="2"/>
          </p:nvPr>
        </p:nvSpPr>
        <p:spPr>
          <a:xfrm>
            <a:off x="5181599" y="0"/>
            <a:ext cx="7010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25" name="Google Shape;25;p21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21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1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" name="Google Shape;28;p21"/>
          <p:cNvSpPr/>
          <p:nvPr/>
        </p:nvSpPr>
        <p:spPr>
          <a:xfrm>
            <a:off x="4673599" y="2239395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Google Shape;29;p21"/>
          <p:cNvSpPr/>
          <p:nvPr/>
        </p:nvSpPr>
        <p:spPr>
          <a:xfrm>
            <a:off x="581192" y="875830"/>
            <a:ext cx="2540001" cy="25400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21"/>
          <p:cNvSpPr txBox="1">
            <a:spLocks noGrp="1"/>
          </p:cNvSpPr>
          <p:nvPr>
            <p:ph type="body" idx="1"/>
          </p:nvPr>
        </p:nvSpPr>
        <p:spPr>
          <a:xfrm>
            <a:off x="581194" y="2720636"/>
            <a:ext cx="3863216" cy="3634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2072" algn="l">
              <a:spcBef>
                <a:spcPts val="320"/>
              </a:spcBef>
              <a:spcAft>
                <a:spcPts val="0"/>
              </a:spcAft>
              <a:buSzPts val="1472"/>
              <a:buChar char="◼"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310387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 sz="14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92861" algn="l">
              <a:spcBef>
                <a:spcPts val="600"/>
              </a:spcBef>
              <a:spcAft>
                <a:spcPts val="0"/>
              </a:spcAft>
              <a:buSzPts val="1012"/>
              <a:buChar char="◼"/>
              <a:defRPr sz="11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92861" algn="l">
              <a:spcBef>
                <a:spcPts val="600"/>
              </a:spcBef>
              <a:spcAft>
                <a:spcPts val="0"/>
              </a:spcAft>
              <a:buSzPts val="1012"/>
              <a:buChar char="◼"/>
              <a:defRPr sz="11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31" name="Google Shape;31;p21"/>
          <p:cNvSpPr txBox="1">
            <a:spLocks noGrp="1"/>
          </p:cNvSpPr>
          <p:nvPr>
            <p:ph type="title"/>
          </p:nvPr>
        </p:nvSpPr>
        <p:spPr>
          <a:xfrm>
            <a:off x="581192" y="1304660"/>
            <a:ext cx="3863216" cy="1415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007643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及內容" type="obj">
  <p:cSld name="標題及內容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22"/>
          <p:cNvSpPr txBox="1">
            <a:spLocks noGrp="1"/>
          </p:cNvSpPr>
          <p:nvPr>
            <p:ph type="title"/>
          </p:nvPr>
        </p:nvSpPr>
        <p:spPr>
          <a:xfrm>
            <a:off x="581192" y="702156"/>
            <a:ext cx="11029616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22"/>
          <p:cNvSpPr txBox="1">
            <a:spLocks noGrp="1"/>
          </p:cNvSpPr>
          <p:nvPr>
            <p:ph type="body" idx="1"/>
          </p:nvPr>
        </p:nvSpPr>
        <p:spPr>
          <a:xfrm>
            <a:off x="581192" y="1890876"/>
            <a:ext cx="11029615" cy="40844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33756" algn="l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l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35" name="Google Shape;35;p22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22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22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" name="Google Shape;38;p22"/>
          <p:cNvSpPr/>
          <p:nvPr/>
        </p:nvSpPr>
        <p:spPr>
          <a:xfrm>
            <a:off x="0" y="806538"/>
            <a:ext cx="453601" cy="36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260442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兩個內容">
  <p:cSld name="兩個內容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23"/>
          <p:cNvSpPr txBox="1">
            <a:spLocks noGrp="1"/>
          </p:cNvSpPr>
          <p:nvPr>
            <p:ph type="body" idx="1"/>
          </p:nvPr>
        </p:nvSpPr>
        <p:spPr>
          <a:xfrm>
            <a:off x="581194" y="1956391"/>
            <a:ext cx="3863216" cy="4467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2072" algn="l">
              <a:spcBef>
                <a:spcPts val="320"/>
              </a:spcBef>
              <a:spcAft>
                <a:spcPts val="0"/>
              </a:spcAft>
              <a:buSzPts val="1472"/>
              <a:buChar char="◼"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310387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 sz="14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92861" algn="l">
              <a:spcBef>
                <a:spcPts val="600"/>
              </a:spcBef>
              <a:spcAft>
                <a:spcPts val="0"/>
              </a:spcAft>
              <a:buSzPts val="1012"/>
              <a:buChar char="◼"/>
              <a:defRPr sz="11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92861" algn="l">
              <a:spcBef>
                <a:spcPts val="600"/>
              </a:spcBef>
              <a:spcAft>
                <a:spcPts val="0"/>
              </a:spcAft>
              <a:buSzPts val="1012"/>
              <a:buChar char="◼"/>
              <a:defRPr sz="11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41" name="Google Shape;41;p23"/>
          <p:cNvSpPr txBox="1">
            <a:spLocks noGrp="1"/>
          </p:cNvSpPr>
          <p:nvPr>
            <p:ph type="body" idx="2"/>
          </p:nvPr>
        </p:nvSpPr>
        <p:spPr>
          <a:xfrm>
            <a:off x="4693599" y="1956391"/>
            <a:ext cx="6917210" cy="44675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3756" algn="l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l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42" name="Google Shape;42;p23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23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23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5" name="Google Shape;45;p23"/>
          <p:cNvSpPr txBox="1">
            <a:spLocks noGrp="1"/>
          </p:cNvSpPr>
          <p:nvPr>
            <p:ph type="title"/>
          </p:nvPr>
        </p:nvSpPr>
        <p:spPr>
          <a:xfrm>
            <a:off x="581192" y="702156"/>
            <a:ext cx="11029616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23"/>
          <p:cNvSpPr/>
          <p:nvPr/>
        </p:nvSpPr>
        <p:spPr>
          <a:xfrm>
            <a:off x="0" y="806538"/>
            <a:ext cx="453601" cy="36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2579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圖庫">
  <p:cSld name="圖庫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24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4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4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" name="Google Shape;51;p24"/>
          <p:cNvSpPr>
            <a:spLocks noGrp="1"/>
          </p:cNvSpPr>
          <p:nvPr>
            <p:ph type="pic" idx="2"/>
          </p:nvPr>
        </p:nvSpPr>
        <p:spPr>
          <a:xfrm>
            <a:off x="10128308" y="717550"/>
            <a:ext cx="2063601" cy="4953001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52" name="Google Shape;52;p24"/>
          <p:cNvSpPr>
            <a:spLocks noGrp="1"/>
          </p:cNvSpPr>
          <p:nvPr>
            <p:ph type="pic" idx="3"/>
          </p:nvPr>
        </p:nvSpPr>
        <p:spPr>
          <a:xfrm>
            <a:off x="1274457" y="3168650"/>
            <a:ext cx="3367194" cy="36893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53" name="Google Shape;53;p24"/>
          <p:cNvSpPr>
            <a:spLocks noGrp="1"/>
          </p:cNvSpPr>
          <p:nvPr>
            <p:ph type="pic" idx="4"/>
          </p:nvPr>
        </p:nvSpPr>
        <p:spPr>
          <a:xfrm>
            <a:off x="1274457" y="0"/>
            <a:ext cx="3367194" cy="2667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54" name="Google Shape;54;p24"/>
          <p:cNvSpPr/>
          <p:nvPr/>
        </p:nvSpPr>
        <p:spPr>
          <a:xfrm>
            <a:off x="766456" y="4822750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5" name="Google Shape;55;p24"/>
          <p:cNvSpPr/>
          <p:nvPr/>
        </p:nvSpPr>
        <p:spPr>
          <a:xfrm>
            <a:off x="9493307" y="2901950"/>
            <a:ext cx="1270001" cy="12700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24"/>
          <p:cNvSpPr/>
          <p:nvPr/>
        </p:nvSpPr>
        <p:spPr>
          <a:xfrm rot="-5400000">
            <a:off x="3519629" y="2273300"/>
            <a:ext cx="1270001" cy="12700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p24"/>
          <p:cNvSpPr txBox="1">
            <a:spLocks noGrp="1"/>
          </p:cNvSpPr>
          <p:nvPr>
            <p:ph type="title"/>
          </p:nvPr>
        </p:nvSpPr>
        <p:spPr>
          <a:xfrm>
            <a:off x="6152484" y="3486000"/>
            <a:ext cx="3658324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70046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比較">
  <p:cSld name="比較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25"/>
          <p:cNvSpPr txBox="1">
            <a:spLocks noGrp="1"/>
          </p:cNvSpPr>
          <p:nvPr>
            <p:ph type="body" idx="1"/>
          </p:nvPr>
        </p:nvSpPr>
        <p:spPr>
          <a:xfrm>
            <a:off x="581192" y="2847885"/>
            <a:ext cx="4757482" cy="5577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spcBef>
                <a:spcPts val="560"/>
              </a:spcBef>
              <a:spcAft>
                <a:spcPts val="0"/>
              </a:spcAft>
              <a:buSzPts val="2576"/>
              <a:buNone/>
              <a:defRPr sz="2800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SzPts val="1840"/>
              <a:buNone/>
              <a:defRPr sz="2000" b="1"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656"/>
              <a:buNone/>
              <a:defRPr sz="1800" b="1"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5pPr>
            <a:lvl6pPr marL="2743200" lvl="5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6pPr>
            <a:lvl7pPr marL="3200400" lvl="6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7pPr>
            <a:lvl8pPr marL="3657600" lvl="7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8pPr>
            <a:lvl9pPr marL="4114800" lvl="8" indent="-228600" algn="l">
              <a:spcBef>
                <a:spcPts val="600"/>
              </a:spcBef>
              <a:spcAft>
                <a:spcPts val="600"/>
              </a:spcAft>
              <a:buSzPts val="1472"/>
              <a:buNone/>
              <a:defRPr sz="1600" b="1"/>
            </a:lvl9pPr>
          </a:lstStyle>
          <a:p>
            <a:endParaRPr/>
          </a:p>
        </p:txBody>
      </p:sp>
      <p:sp>
        <p:nvSpPr>
          <p:cNvPr id="60" name="Google Shape;60;p25"/>
          <p:cNvSpPr txBox="1">
            <a:spLocks noGrp="1"/>
          </p:cNvSpPr>
          <p:nvPr>
            <p:ph type="body" idx="2"/>
          </p:nvPr>
        </p:nvSpPr>
        <p:spPr>
          <a:xfrm>
            <a:off x="581194" y="3523046"/>
            <a:ext cx="4757479" cy="2131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3756" algn="ctr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ctr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ctr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ctr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ctr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61" name="Google Shape;61;p25"/>
          <p:cNvSpPr txBox="1">
            <a:spLocks noGrp="1"/>
          </p:cNvSpPr>
          <p:nvPr>
            <p:ph type="body" idx="3"/>
          </p:nvPr>
        </p:nvSpPr>
        <p:spPr>
          <a:xfrm>
            <a:off x="6604002" y="2847886"/>
            <a:ext cx="4757483" cy="5533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accent1"/>
              </a:buClr>
              <a:buSzPts val="2576"/>
              <a:buFont typeface="Noto Sans Symbols"/>
              <a:buNone/>
              <a:defRPr sz="2800" b="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spcBef>
                <a:spcPts val="600"/>
              </a:spcBef>
              <a:spcAft>
                <a:spcPts val="0"/>
              </a:spcAft>
              <a:buSzPts val="1840"/>
              <a:buNone/>
              <a:defRPr sz="2000" b="1"/>
            </a:lvl2pPr>
            <a:lvl3pPr marL="1371600" lvl="2" indent="-228600" algn="l">
              <a:spcBef>
                <a:spcPts val="600"/>
              </a:spcBef>
              <a:spcAft>
                <a:spcPts val="0"/>
              </a:spcAft>
              <a:buSzPts val="1656"/>
              <a:buNone/>
              <a:defRPr sz="1800" b="1"/>
            </a:lvl3pPr>
            <a:lvl4pPr marL="1828800" lvl="3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4pPr>
            <a:lvl5pPr marL="2286000" lvl="4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5pPr>
            <a:lvl6pPr marL="2743200" lvl="5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6pPr>
            <a:lvl7pPr marL="3200400" lvl="6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7pPr>
            <a:lvl8pPr marL="3657600" lvl="7" indent="-228600" algn="l">
              <a:spcBef>
                <a:spcPts val="600"/>
              </a:spcBef>
              <a:spcAft>
                <a:spcPts val="0"/>
              </a:spcAft>
              <a:buSzPts val="1472"/>
              <a:buNone/>
              <a:defRPr sz="1600" b="1"/>
            </a:lvl8pPr>
            <a:lvl9pPr marL="4114800" lvl="8" indent="-228600" algn="l">
              <a:spcBef>
                <a:spcPts val="600"/>
              </a:spcBef>
              <a:spcAft>
                <a:spcPts val="600"/>
              </a:spcAft>
              <a:buSzPts val="1472"/>
              <a:buNone/>
              <a:defRPr sz="1600" b="1"/>
            </a:lvl9pPr>
          </a:lstStyle>
          <a:p>
            <a:endParaRPr/>
          </a:p>
        </p:txBody>
      </p:sp>
      <p:sp>
        <p:nvSpPr>
          <p:cNvPr id="62" name="Google Shape;62;p25"/>
          <p:cNvSpPr txBox="1">
            <a:spLocks noGrp="1"/>
          </p:cNvSpPr>
          <p:nvPr>
            <p:ph type="body" idx="4"/>
          </p:nvPr>
        </p:nvSpPr>
        <p:spPr>
          <a:xfrm>
            <a:off x="6604001" y="3523046"/>
            <a:ext cx="4757484" cy="2131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33756" algn="ctr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ctr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ctr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ctr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ctr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63" name="Google Shape;63;p25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25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25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6" name="Google Shape;66;p25"/>
          <p:cNvSpPr txBox="1">
            <a:spLocks noGrp="1"/>
          </p:cNvSpPr>
          <p:nvPr>
            <p:ph type="title"/>
          </p:nvPr>
        </p:nvSpPr>
        <p:spPr>
          <a:xfrm>
            <a:off x="581192" y="702156"/>
            <a:ext cx="11029616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5"/>
          <p:cNvSpPr/>
          <p:nvPr/>
        </p:nvSpPr>
        <p:spPr>
          <a:xfrm>
            <a:off x="0" y="806538"/>
            <a:ext cx="453601" cy="36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8" name="Google Shape;68;p25"/>
          <p:cNvGrpSpPr/>
          <p:nvPr/>
        </p:nvGrpSpPr>
        <p:grpSpPr>
          <a:xfrm>
            <a:off x="5463336" y="2250891"/>
            <a:ext cx="1016001" cy="3839220"/>
            <a:chOff x="5510085" y="2250891"/>
            <a:chExt cx="1016001" cy="3839220"/>
          </a:xfrm>
        </p:grpSpPr>
        <p:cxnSp>
          <p:nvCxnSpPr>
            <p:cNvPr id="69" name="Google Shape;69;p25"/>
            <p:cNvCxnSpPr/>
            <p:nvPr/>
          </p:nvCxnSpPr>
          <p:spPr>
            <a:xfrm>
              <a:off x="6018085" y="2340176"/>
              <a:ext cx="0" cy="3749935"/>
            </a:xfrm>
            <a:prstGeom prst="straightConnector1">
              <a:avLst/>
            </a:prstGeom>
            <a:noFill/>
            <a:ln w="12700" cap="rnd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70" name="Google Shape;70;p25"/>
            <p:cNvSpPr/>
            <p:nvPr/>
          </p:nvSpPr>
          <p:spPr>
            <a:xfrm>
              <a:off x="5510085" y="2250891"/>
              <a:ext cx="1016001" cy="38100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25400" tIns="25400" rIns="25400" bIns="254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60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rPr>
                <a:t>與</a:t>
              </a: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38692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191CFE-8839-40F1-BF6D-EEF376483E46}" type="slidenum">
              <a:rPr lang="zh-TW" altLang="en-US" smtClean="0"/>
              <a:t>‹#›</a:t>
            </a:fld>
            <a:endParaRPr lang="zh-TW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D36F18C-8149-4AB4-A28C-AE5C02A44286}"/>
              </a:ext>
            </a:extLst>
          </p:cNvPr>
          <p:cNvSpPr/>
          <p:nvPr userDrawn="1"/>
        </p:nvSpPr>
        <p:spPr>
          <a:xfrm>
            <a:off x="1152152" y="319088"/>
            <a:ext cx="9887695" cy="1313485"/>
          </a:xfrm>
          <a:prstGeom prst="rect">
            <a:avLst/>
          </a:prstGeom>
          <a:noFill/>
          <a:ln w="38100">
            <a:solidFill>
              <a:schemeClr val="bg1">
                <a:alpha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695270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內容和影像">
  <p:cSld name="內容和影像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26"/>
          <p:cNvSpPr>
            <a:spLocks noGrp="1"/>
          </p:cNvSpPr>
          <p:nvPr>
            <p:ph type="pic" idx="2"/>
          </p:nvPr>
        </p:nvSpPr>
        <p:spPr>
          <a:xfrm>
            <a:off x="0" y="0"/>
            <a:ext cx="55245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73" name="Google Shape;73;p26"/>
          <p:cNvSpPr txBox="1">
            <a:spLocks noGrp="1"/>
          </p:cNvSpPr>
          <p:nvPr>
            <p:ph type="body" idx="1"/>
          </p:nvPr>
        </p:nvSpPr>
        <p:spPr>
          <a:xfrm>
            <a:off x="6223592" y="1890876"/>
            <a:ext cx="5387215" cy="40844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33756" algn="l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l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74" name="Google Shape;74;p26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26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6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" name="Google Shape;77;p26"/>
          <p:cNvSpPr txBox="1">
            <a:spLocks noGrp="1"/>
          </p:cNvSpPr>
          <p:nvPr>
            <p:ph type="title"/>
          </p:nvPr>
        </p:nvSpPr>
        <p:spPr>
          <a:xfrm>
            <a:off x="6223592" y="702156"/>
            <a:ext cx="5387215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6"/>
          <p:cNvSpPr/>
          <p:nvPr/>
        </p:nvSpPr>
        <p:spPr>
          <a:xfrm>
            <a:off x="4952408" y="806538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37013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只有標題">
  <p:cSld name="只有標題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7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7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7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3" name="Google Shape;83;p27"/>
          <p:cNvSpPr txBox="1">
            <a:spLocks noGrp="1"/>
          </p:cNvSpPr>
          <p:nvPr>
            <p:ph type="title"/>
          </p:nvPr>
        </p:nvSpPr>
        <p:spPr>
          <a:xfrm>
            <a:off x="581192" y="702156"/>
            <a:ext cx="11029616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27"/>
          <p:cNvSpPr/>
          <p:nvPr/>
        </p:nvSpPr>
        <p:spPr>
          <a:xfrm>
            <a:off x="0" y="806538"/>
            <a:ext cx="453601" cy="36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07572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團隊">
  <p:cSld name="團隊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8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28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8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9" name="Google Shape;89;p28"/>
          <p:cNvSpPr>
            <a:spLocks noGrp="1"/>
          </p:cNvSpPr>
          <p:nvPr>
            <p:ph type="pic" idx="2"/>
          </p:nvPr>
        </p:nvSpPr>
        <p:spPr>
          <a:xfrm>
            <a:off x="1237608" y="2063551"/>
            <a:ext cx="2328880" cy="205191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90" name="Google Shape;90;p28"/>
          <p:cNvSpPr>
            <a:spLocks noGrp="1"/>
          </p:cNvSpPr>
          <p:nvPr>
            <p:ph type="pic" idx="3"/>
          </p:nvPr>
        </p:nvSpPr>
        <p:spPr>
          <a:xfrm>
            <a:off x="4908556" y="2063551"/>
            <a:ext cx="2328880" cy="205191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91" name="Google Shape;91;p28"/>
          <p:cNvSpPr>
            <a:spLocks noGrp="1"/>
          </p:cNvSpPr>
          <p:nvPr>
            <p:ph type="pic" idx="4"/>
          </p:nvPr>
        </p:nvSpPr>
        <p:spPr>
          <a:xfrm>
            <a:off x="8579504" y="2063551"/>
            <a:ext cx="2328880" cy="205191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92" name="Google Shape;92;p28"/>
          <p:cNvSpPr txBox="1">
            <a:spLocks noGrp="1"/>
          </p:cNvSpPr>
          <p:nvPr>
            <p:ph type="body" idx="1"/>
          </p:nvPr>
        </p:nvSpPr>
        <p:spPr>
          <a:xfrm>
            <a:off x="728482" y="4259751"/>
            <a:ext cx="3316999" cy="269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80000"/>
              </a:lnSpc>
              <a:spcBef>
                <a:spcPts val="320"/>
              </a:spcBef>
              <a:spcAft>
                <a:spcPts val="0"/>
              </a:spcAft>
              <a:buSzPts val="1472"/>
              <a:buNone/>
              <a:defRPr sz="16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4"/>
              <a:buFont typeface="Arial"/>
              <a:buNone/>
              <a:defRPr sz="1200" i="1"/>
            </a:lvl2pPr>
            <a:lvl3pPr marL="1371600" lvl="2" indent="-228600" algn="l">
              <a:spcBef>
                <a:spcPts val="800"/>
              </a:spcBef>
              <a:spcAft>
                <a:spcPts val="0"/>
              </a:spcAft>
              <a:buSzPts val="1104"/>
              <a:buNone/>
              <a:defRPr sz="1200"/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93" name="Google Shape;93;p28"/>
          <p:cNvSpPr txBox="1">
            <a:spLocks noGrp="1"/>
          </p:cNvSpPr>
          <p:nvPr>
            <p:ph type="body" idx="5"/>
          </p:nvPr>
        </p:nvSpPr>
        <p:spPr>
          <a:xfrm>
            <a:off x="727854" y="4460676"/>
            <a:ext cx="3317238" cy="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spcBef>
                <a:spcPts val="240"/>
              </a:spcBef>
              <a:spcAft>
                <a:spcPts val="0"/>
              </a:spcAft>
              <a:buSzPts val="1104"/>
              <a:buNone/>
              <a:defRPr sz="1200" i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2pPr>
            <a:lvl3pPr marL="1371600" lvl="2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3pPr>
            <a:lvl4pPr marL="1828800" lvl="3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4pPr>
            <a:lvl5pPr marL="2286000" lvl="4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94" name="Google Shape;94;p28"/>
          <p:cNvSpPr txBox="1">
            <a:spLocks noGrp="1"/>
          </p:cNvSpPr>
          <p:nvPr>
            <p:ph type="body" idx="6"/>
          </p:nvPr>
        </p:nvSpPr>
        <p:spPr>
          <a:xfrm>
            <a:off x="727402" y="4933816"/>
            <a:ext cx="3351751" cy="1490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SzPts val="1104"/>
              <a:buNone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4"/>
              <a:buFont typeface="Arial"/>
              <a:buNone/>
              <a:defRPr sz="1200" i="1"/>
            </a:lvl2pPr>
            <a:lvl3pPr marL="1371600" lvl="2" indent="-228600" algn="l">
              <a:spcBef>
                <a:spcPts val="800"/>
              </a:spcBef>
              <a:spcAft>
                <a:spcPts val="0"/>
              </a:spcAft>
              <a:buSzPts val="1104"/>
              <a:buNone/>
              <a:defRPr sz="1200"/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95" name="Google Shape;95;p28"/>
          <p:cNvSpPr txBox="1">
            <a:spLocks noGrp="1"/>
          </p:cNvSpPr>
          <p:nvPr>
            <p:ph type="body" idx="7"/>
          </p:nvPr>
        </p:nvSpPr>
        <p:spPr>
          <a:xfrm>
            <a:off x="4415005" y="4259751"/>
            <a:ext cx="3316999" cy="269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80000"/>
              </a:lnSpc>
              <a:spcBef>
                <a:spcPts val="320"/>
              </a:spcBef>
              <a:spcAft>
                <a:spcPts val="0"/>
              </a:spcAft>
              <a:buSzPts val="1472"/>
              <a:buNone/>
              <a:defRPr sz="16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4"/>
              <a:buFont typeface="Arial"/>
              <a:buNone/>
              <a:defRPr sz="1200" i="1"/>
            </a:lvl2pPr>
            <a:lvl3pPr marL="1371600" lvl="2" indent="-228600" algn="l">
              <a:spcBef>
                <a:spcPts val="800"/>
              </a:spcBef>
              <a:spcAft>
                <a:spcPts val="0"/>
              </a:spcAft>
              <a:buSzPts val="1104"/>
              <a:buNone/>
              <a:defRPr sz="1200"/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96" name="Google Shape;96;p28"/>
          <p:cNvSpPr txBox="1">
            <a:spLocks noGrp="1"/>
          </p:cNvSpPr>
          <p:nvPr>
            <p:ph type="body" idx="8"/>
          </p:nvPr>
        </p:nvSpPr>
        <p:spPr>
          <a:xfrm>
            <a:off x="4414377" y="4460676"/>
            <a:ext cx="3317238" cy="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spcBef>
                <a:spcPts val="240"/>
              </a:spcBef>
              <a:spcAft>
                <a:spcPts val="0"/>
              </a:spcAft>
              <a:buSzPts val="1104"/>
              <a:buNone/>
              <a:defRPr sz="1200" i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2pPr>
            <a:lvl3pPr marL="1371600" lvl="2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3pPr>
            <a:lvl4pPr marL="1828800" lvl="3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4pPr>
            <a:lvl5pPr marL="2286000" lvl="4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97" name="Google Shape;97;p28"/>
          <p:cNvSpPr txBox="1">
            <a:spLocks noGrp="1"/>
          </p:cNvSpPr>
          <p:nvPr>
            <p:ph type="body" idx="9"/>
          </p:nvPr>
        </p:nvSpPr>
        <p:spPr>
          <a:xfrm>
            <a:off x="4413925" y="4933816"/>
            <a:ext cx="3351751" cy="1490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SzPts val="1104"/>
              <a:buNone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4"/>
              <a:buFont typeface="Arial"/>
              <a:buNone/>
              <a:defRPr sz="1200" i="1"/>
            </a:lvl2pPr>
            <a:lvl3pPr marL="1371600" lvl="2" indent="-228600" algn="l">
              <a:spcBef>
                <a:spcPts val="800"/>
              </a:spcBef>
              <a:spcAft>
                <a:spcPts val="0"/>
              </a:spcAft>
              <a:buSzPts val="1104"/>
              <a:buNone/>
              <a:defRPr sz="1200"/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98" name="Google Shape;98;p28"/>
          <p:cNvSpPr txBox="1">
            <a:spLocks noGrp="1"/>
          </p:cNvSpPr>
          <p:nvPr>
            <p:ph type="body" idx="13"/>
          </p:nvPr>
        </p:nvSpPr>
        <p:spPr>
          <a:xfrm>
            <a:off x="8101528" y="4259751"/>
            <a:ext cx="3316999" cy="269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80000"/>
              </a:lnSpc>
              <a:spcBef>
                <a:spcPts val="320"/>
              </a:spcBef>
              <a:spcAft>
                <a:spcPts val="0"/>
              </a:spcAft>
              <a:buSzPts val="1472"/>
              <a:buNone/>
              <a:defRPr sz="16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4"/>
              <a:buFont typeface="Arial"/>
              <a:buNone/>
              <a:defRPr sz="1200" i="1"/>
            </a:lvl2pPr>
            <a:lvl3pPr marL="1371600" lvl="2" indent="-228600" algn="l">
              <a:spcBef>
                <a:spcPts val="800"/>
              </a:spcBef>
              <a:spcAft>
                <a:spcPts val="0"/>
              </a:spcAft>
              <a:buSzPts val="1104"/>
              <a:buNone/>
              <a:defRPr sz="1200"/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99" name="Google Shape;99;p28"/>
          <p:cNvSpPr txBox="1">
            <a:spLocks noGrp="1"/>
          </p:cNvSpPr>
          <p:nvPr>
            <p:ph type="body" idx="14"/>
          </p:nvPr>
        </p:nvSpPr>
        <p:spPr>
          <a:xfrm>
            <a:off x="8100900" y="4460676"/>
            <a:ext cx="3317238" cy="2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spcBef>
                <a:spcPts val="240"/>
              </a:spcBef>
              <a:spcAft>
                <a:spcPts val="0"/>
              </a:spcAft>
              <a:buSzPts val="1104"/>
              <a:buNone/>
              <a:defRPr sz="1200" i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2pPr>
            <a:lvl3pPr marL="1371600" lvl="2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3pPr>
            <a:lvl4pPr marL="1828800" lvl="3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4pPr>
            <a:lvl5pPr marL="2286000" lvl="4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100" name="Google Shape;100;p28"/>
          <p:cNvSpPr txBox="1">
            <a:spLocks noGrp="1"/>
          </p:cNvSpPr>
          <p:nvPr>
            <p:ph type="body" idx="15"/>
          </p:nvPr>
        </p:nvSpPr>
        <p:spPr>
          <a:xfrm>
            <a:off x="8100448" y="4933816"/>
            <a:ext cx="3351751" cy="14900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ctr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SzPts val="1104"/>
              <a:buNone/>
              <a:defRPr sz="12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4"/>
              <a:buFont typeface="Arial"/>
              <a:buNone/>
              <a:defRPr sz="1200" i="1"/>
            </a:lvl2pPr>
            <a:lvl3pPr marL="1371600" lvl="2" indent="-228600" algn="l">
              <a:spcBef>
                <a:spcPts val="800"/>
              </a:spcBef>
              <a:spcAft>
                <a:spcPts val="0"/>
              </a:spcAft>
              <a:buSzPts val="1104"/>
              <a:buNone/>
              <a:defRPr sz="1200"/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101" name="Google Shape;101;p28"/>
          <p:cNvSpPr txBox="1">
            <a:spLocks noGrp="1"/>
          </p:cNvSpPr>
          <p:nvPr>
            <p:ph type="title"/>
          </p:nvPr>
        </p:nvSpPr>
        <p:spPr>
          <a:xfrm>
            <a:off x="581192" y="702156"/>
            <a:ext cx="11029616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8"/>
          <p:cNvSpPr/>
          <p:nvPr/>
        </p:nvSpPr>
        <p:spPr>
          <a:xfrm>
            <a:off x="0" y="806538"/>
            <a:ext cx="453601" cy="36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03" name="Google Shape;103;p28"/>
          <p:cNvCxnSpPr/>
          <p:nvPr/>
        </p:nvCxnSpPr>
        <p:spPr>
          <a:xfrm>
            <a:off x="1186323" y="4806226"/>
            <a:ext cx="2400300" cy="0"/>
          </a:xfrm>
          <a:prstGeom prst="straightConnector1">
            <a:avLst/>
          </a:prstGeom>
          <a:noFill/>
          <a:ln w="1270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4" name="Google Shape;104;p28"/>
          <p:cNvCxnSpPr/>
          <p:nvPr/>
        </p:nvCxnSpPr>
        <p:spPr>
          <a:xfrm>
            <a:off x="4872846" y="4806226"/>
            <a:ext cx="2400300" cy="0"/>
          </a:xfrm>
          <a:prstGeom prst="straightConnector1">
            <a:avLst/>
          </a:prstGeom>
          <a:noFill/>
          <a:ln w="1270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5" name="Google Shape;105;p28"/>
          <p:cNvCxnSpPr/>
          <p:nvPr/>
        </p:nvCxnSpPr>
        <p:spPr>
          <a:xfrm>
            <a:off x="8559369" y="4806226"/>
            <a:ext cx="2400300" cy="0"/>
          </a:xfrm>
          <a:prstGeom prst="straightConnector1">
            <a:avLst/>
          </a:prstGeom>
          <a:noFill/>
          <a:ln w="12700" cap="rnd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849491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與我們連絡">
  <p:cSld name="與我們連絡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9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9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9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" name="Google Shape;110;p29"/>
          <p:cNvSpPr/>
          <p:nvPr/>
        </p:nvSpPr>
        <p:spPr>
          <a:xfrm rot="-5400000">
            <a:off x="3619401" y="2402840"/>
            <a:ext cx="1270001" cy="12701"/>
          </a:xfrm>
          <a:prstGeom prst="rect">
            <a:avLst/>
          </a:prstGeom>
          <a:solidFill>
            <a:srgbClr val="11111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" name="Google Shape;111;p29"/>
          <p:cNvSpPr>
            <a:spLocks noGrp="1"/>
          </p:cNvSpPr>
          <p:nvPr>
            <p:ph type="pic" idx="2"/>
          </p:nvPr>
        </p:nvSpPr>
        <p:spPr>
          <a:xfrm>
            <a:off x="973138" y="917461"/>
            <a:ext cx="2205037" cy="498962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112" name="Google Shape;112;p29"/>
          <p:cNvSpPr/>
          <p:nvPr/>
        </p:nvSpPr>
        <p:spPr>
          <a:xfrm>
            <a:off x="764089" y="4824593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29"/>
          <p:cNvSpPr txBox="1">
            <a:spLocks noGrp="1"/>
          </p:cNvSpPr>
          <p:nvPr>
            <p:ph type="title"/>
          </p:nvPr>
        </p:nvSpPr>
        <p:spPr>
          <a:xfrm>
            <a:off x="4248051" y="2945525"/>
            <a:ext cx="2945494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29"/>
          <p:cNvSpPr txBox="1">
            <a:spLocks noGrp="1"/>
          </p:cNvSpPr>
          <p:nvPr>
            <p:ph type="body" idx="1"/>
          </p:nvPr>
        </p:nvSpPr>
        <p:spPr>
          <a:xfrm>
            <a:off x="7405688" y="2005013"/>
            <a:ext cx="4510087" cy="40274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33756" algn="l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l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57510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投影片" type="title">
  <p:cSld name="標題投影片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p30"/>
          <p:cNvSpPr/>
          <p:nvPr/>
        </p:nvSpPr>
        <p:spPr>
          <a:xfrm>
            <a:off x="581190" y="3085764"/>
            <a:ext cx="10993550" cy="333814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" name="Google Shape;117;p30"/>
          <p:cNvSpPr txBox="1"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600"/>
              <a:buFont typeface="Arial"/>
              <a:buNone/>
              <a:defRPr sz="36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30"/>
          <p:cNvSpPr txBox="1"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320"/>
              </a:spcBef>
              <a:spcAft>
                <a:spcPts val="0"/>
              </a:spcAft>
              <a:buSzPts val="1472"/>
              <a:buNone/>
              <a:defRPr sz="1600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600"/>
              </a:spcBef>
              <a:spcAft>
                <a:spcPts val="0"/>
              </a:spcAft>
              <a:buSzPts val="1472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600"/>
              </a:spcBef>
              <a:spcAft>
                <a:spcPts val="0"/>
              </a:spcAft>
              <a:buSzPts val="1288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600"/>
              </a:spcBef>
              <a:spcAft>
                <a:spcPts val="0"/>
              </a:spcAft>
              <a:buSzPts val="1104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600"/>
              </a:spcBef>
              <a:spcAft>
                <a:spcPts val="0"/>
              </a:spcAft>
              <a:buSzPts val="1104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600"/>
              </a:spcBef>
              <a:spcAft>
                <a:spcPts val="0"/>
              </a:spcAft>
              <a:buSzPts val="1104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600"/>
              </a:spcBef>
              <a:spcAft>
                <a:spcPts val="0"/>
              </a:spcAft>
              <a:buSzPts val="1104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600"/>
              </a:spcBef>
              <a:spcAft>
                <a:spcPts val="0"/>
              </a:spcAft>
              <a:buSzPts val="1104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600"/>
              </a:spcBef>
              <a:spcAft>
                <a:spcPts val="600"/>
              </a:spcAft>
              <a:buSzPts val="1104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19" name="Google Shape;119;p30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30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30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2" name="Google Shape;122;p30"/>
          <p:cNvSpPr/>
          <p:nvPr/>
        </p:nvSpPr>
        <p:spPr>
          <a:xfrm>
            <a:off x="109259" y="4564339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51080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及內容 2">
  <p:cSld name="標題及內容 2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32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32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" name="Google Shape;130;p32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" name="Google Shape;131;p32"/>
          <p:cNvSpPr/>
          <p:nvPr/>
        </p:nvSpPr>
        <p:spPr>
          <a:xfrm>
            <a:off x="5216208" y="-1"/>
            <a:ext cx="6975793" cy="6858001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2" name="Google Shape;132;p32"/>
          <p:cNvSpPr/>
          <p:nvPr/>
        </p:nvSpPr>
        <p:spPr>
          <a:xfrm rot="-5400000">
            <a:off x="797983" y="2940050"/>
            <a:ext cx="1270001" cy="12700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3" name="Google Shape;133;p32"/>
          <p:cNvSpPr/>
          <p:nvPr/>
        </p:nvSpPr>
        <p:spPr>
          <a:xfrm>
            <a:off x="4673599" y="604043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4" name="Google Shape;134;p32"/>
          <p:cNvSpPr txBox="1">
            <a:spLocks noGrp="1"/>
          </p:cNvSpPr>
          <p:nvPr>
            <p:ph type="title"/>
          </p:nvPr>
        </p:nvSpPr>
        <p:spPr>
          <a:xfrm>
            <a:off x="1426632" y="4035869"/>
            <a:ext cx="3658324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32"/>
          <p:cNvSpPr txBox="1">
            <a:spLocks noGrp="1"/>
          </p:cNvSpPr>
          <p:nvPr>
            <p:ph type="body" idx="1"/>
          </p:nvPr>
        </p:nvSpPr>
        <p:spPr>
          <a:xfrm>
            <a:off x="6016689" y="878177"/>
            <a:ext cx="5341775" cy="5251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33756" algn="l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l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24996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標題及內容 3">
  <p:cSld name="標題及內容 3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33"/>
          <p:cNvSpPr/>
          <p:nvPr/>
        </p:nvSpPr>
        <p:spPr>
          <a:xfrm>
            <a:off x="0" y="-1"/>
            <a:ext cx="6975793" cy="6858001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8" name="Google Shape;138;p33"/>
          <p:cNvSpPr txBox="1">
            <a:spLocks noGrp="1"/>
          </p:cNvSpPr>
          <p:nvPr>
            <p:ph type="body" idx="1"/>
          </p:nvPr>
        </p:nvSpPr>
        <p:spPr>
          <a:xfrm>
            <a:off x="754225" y="878177"/>
            <a:ext cx="5341775" cy="52518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33756" algn="l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l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139" name="Google Shape;139;p33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33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33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2" name="Google Shape;142;p33"/>
          <p:cNvSpPr/>
          <p:nvPr/>
        </p:nvSpPr>
        <p:spPr>
          <a:xfrm rot="-5400000">
            <a:off x="7326450" y="2940050"/>
            <a:ext cx="1270001" cy="12700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3" name="Google Shape;143;p33"/>
          <p:cNvSpPr/>
          <p:nvPr/>
        </p:nvSpPr>
        <p:spPr>
          <a:xfrm>
            <a:off x="6482401" y="604043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" name="Google Shape;144;p33"/>
          <p:cNvSpPr txBox="1">
            <a:spLocks noGrp="1"/>
          </p:cNvSpPr>
          <p:nvPr>
            <p:ph type="title"/>
          </p:nvPr>
        </p:nvSpPr>
        <p:spPr>
          <a:xfrm>
            <a:off x="7955099" y="4035869"/>
            <a:ext cx="3658324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491604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引述">
  <p:cSld name="引述"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34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" name="Google Shape;147;p34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4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9" name="Google Shape;149;p34"/>
          <p:cNvSpPr/>
          <p:nvPr/>
        </p:nvSpPr>
        <p:spPr>
          <a:xfrm>
            <a:off x="952500" y="952500"/>
            <a:ext cx="10287000" cy="4953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34"/>
          <p:cNvSpPr/>
          <p:nvPr/>
        </p:nvSpPr>
        <p:spPr>
          <a:xfrm rot="-5400000">
            <a:off x="5454650" y="1104900"/>
            <a:ext cx="1270000" cy="12700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0433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34"/>
          <p:cNvSpPr/>
          <p:nvPr/>
        </p:nvSpPr>
        <p:spPr>
          <a:xfrm>
            <a:off x="431799" y="1365249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34"/>
          <p:cNvSpPr/>
          <p:nvPr/>
        </p:nvSpPr>
        <p:spPr>
          <a:xfrm>
            <a:off x="10731499" y="5065379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34"/>
          <p:cNvSpPr txBox="1">
            <a:spLocks noGrp="1"/>
          </p:cNvSpPr>
          <p:nvPr>
            <p:ph type="title"/>
          </p:nvPr>
        </p:nvSpPr>
        <p:spPr>
          <a:xfrm>
            <a:off x="1443567" y="3019274"/>
            <a:ext cx="9304867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400"/>
              <a:buFont typeface="Arial"/>
              <a:buNone/>
              <a:defRPr sz="34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34"/>
          <p:cNvSpPr txBox="1">
            <a:spLocks noGrp="1"/>
          </p:cNvSpPr>
          <p:nvPr>
            <p:ph type="body" idx="1"/>
          </p:nvPr>
        </p:nvSpPr>
        <p:spPr>
          <a:xfrm>
            <a:off x="4437501" y="2348318"/>
            <a:ext cx="3316999" cy="269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80000"/>
              </a:lnSpc>
              <a:spcBef>
                <a:spcPts val="320"/>
              </a:spcBef>
              <a:spcAft>
                <a:spcPts val="0"/>
              </a:spcAft>
              <a:buSzPts val="1472"/>
              <a:buNone/>
              <a:defRPr sz="1600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4"/>
              <a:buFont typeface="Arial"/>
              <a:buNone/>
              <a:defRPr sz="1200" i="1"/>
            </a:lvl2pPr>
            <a:lvl3pPr marL="1371600" lvl="2" indent="-228600" algn="l">
              <a:spcBef>
                <a:spcPts val="800"/>
              </a:spcBef>
              <a:spcAft>
                <a:spcPts val="0"/>
              </a:spcAft>
              <a:buSzPts val="1104"/>
              <a:buNone/>
              <a:defRPr sz="1200"/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/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04621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議程">
  <p:cSld name="議程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35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35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8" name="Google Shape;158;p35"/>
          <p:cNvSpPr/>
          <p:nvPr/>
        </p:nvSpPr>
        <p:spPr>
          <a:xfrm>
            <a:off x="0" y="4735651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p35"/>
          <p:cNvSpPr txBox="1">
            <a:spLocks noGrp="1"/>
          </p:cNvSpPr>
          <p:nvPr>
            <p:ph type="title"/>
          </p:nvPr>
        </p:nvSpPr>
        <p:spPr>
          <a:xfrm>
            <a:off x="1426632" y="4651968"/>
            <a:ext cx="3658324" cy="9971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" name="Google Shape;160;p35"/>
          <p:cNvSpPr/>
          <p:nvPr/>
        </p:nvSpPr>
        <p:spPr>
          <a:xfrm rot="-5400000">
            <a:off x="5467350" y="2065417"/>
            <a:ext cx="1270000" cy="12701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0433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Google Shape;161;p35"/>
          <p:cNvSpPr txBox="1">
            <a:spLocks noGrp="1"/>
          </p:cNvSpPr>
          <p:nvPr>
            <p:ph type="body" idx="1"/>
          </p:nvPr>
        </p:nvSpPr>
        <p:spPr>
          <a:xfrm>
            <a:off x="6616172" y="0"/>
            <a:ext cx="4994803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33756" algn="l">
              <a:spcBef>
                <a:spcPts val="36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l">
              <a:spcBef>
                <a:spcPts val="6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55885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圖片和標題">
  <p:cSld name="圖片和標題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36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36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36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6" name="Google Shape;166;p36"/>
          <p:cNvSpPr/>
          <p:nvPr/>
        </p:nvSpPr>
        <p:spPr>
          <a:xfrm rot="5400000">
            <a:off x="1660484" y="1257302"/>
            <a:ext cx="2540001" cy="25400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7" name="Google Shape;167;p36"/>
          <p:cNvSpPr>
            <a:spLocks noGrp="1"/>
          </p:cNvSpPr>
          <p:nvPr>
            <p:ph type="pic" idx="2"/>
          </p:nvPr>
        </p:nvSpPr>
        <p:spPr>
          <a:xfrm>
            <a:off x="546100" y="520700"/>
            <a:ext cx="4743450" cy="58166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168" name="Google Shape;168;p36"/>
          <p:cNvSpPr/>
          <p:nvPr/>
        </p:nvSpPr>
        <p:spPr>
          <a:xfrm>
            <a:off x="4952408" y="806538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9" name="Google Shape;169;p36"/>
          <p:cNvSpPr txBox="1">
            <a:spLocks noGrp="1"/>
          </p:cNvSpPr>
          <p:nvPr>
            <p:ph type="title"/>
          </p:nvPr>
        </p:nvSpPr>
        <p:spPr>
          <a:xfrm>
            <a:off x="6096000" y="702156"/>
            <a:ext cx="6096000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7381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9191CFE-8839-40F1-BF6D-EEF376483E46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71110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圖片與標題">
  <p:cSld name="圖片與標題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37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" name="Google Shape;172;p37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37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4" name="Google Shape;174;p37"/>
          <p:cNvSpPr/>
          <p:nvPr/>
        </p:nvSpPr>
        <p:spPr>
          <a:xfrm rot="5400000">
            <a:off x="1660484" y="1257302"/>
            <a:ext cx="2540001" cy="25400"/>
          </a:xfrm>
          <a:prstGeom prst="rect">
            <a:avLst/>
          </a:prstGeom>
          <a:solidFill>
            <a:srgbClr val="24282B"/>
          </a:soli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5" name="Google Shape;175;p37"/>
          <p:cNvSpPr>
            <a:spLocks noGrp="1"/>
          </p:cNvSpPr>
          <p:nvPr>
            <p:ph type="pic" idx="2"/>
          </p:nvPr>
        </p:nvSpPr>
        <p:spPr>
          <a:xfrm>
            <a:off x="546100" y="520700"/>
            <a:ext cx="4743450" cy="58166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176" name="Google Shape;176;p37"/>
          <p:cNvSpPr/>
          <p:nvPr/>
        </p:nvSpPr>
        <p:spPr>
          <a:xfrm>
            <a:off x="4952408" y="806538"/>
            <a:ext cx="1016001" cy="381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177;p37"/>
          <p:cNvSpPr txBox="1">
            <a:spLocks noGrp="1"/>
          </p:cNvSpPr>
          <p:nvPr>
            <p:ph type="title"/>
          </p:nvPr>
        </p:nvSpPr>
        <p:spPr>
          <a:xfrm>
            <a:off x="6096000" y="702156"/>
            <a:ext cx="6096000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" name="Google Shape;178;p37"/>
          <p:cNvSpPr txBox="1">
            <a:spLocks noGrp="1"/>
          </p:cNvSpPr>
          <p:nvPr>
            <p:ph type="body" idx="1"/>
          </p:nvPr>
        </p:nvSpPr>
        <p:spPr>
          <a:xfrm>
            <a:off x="6096000" y="1443038"/>
            <a:ext cx="5514975" cy="4894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333756" algn="l">
              <a:spcBef>
                <a:spcPts val="1000"/>
              </a:spcBef>
              <a:spcAft>
                <a:spcPts val="0"/>
              </a:spcAft>
              <a:buSzPts val="1656"/>
              <a:buChar char="◼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22072" algn="l">
              <a:spcBef>
                <a:spcPts val="1500"/>
              </a:spcBef>
              <a:spcAft>
                <a:spcPts val="0"/>
              </a:spcAft>
              <a:buSzPts val="1472"/>
              <a:buChar char="◼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10388" algn="l">
              <a:spcBef>
                <a:spcPts val="1500"/>
              </a:spcBef>
              <a:spcAft>
                <a:spcPts val="0"/>
              </a:spcAft>
              <a:buSzPts val="1288"/>
              <a:buChar char="◼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298703" algn="l">
              <a:spcBef>
                <a:spcPts val="15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298704" algn="l">
              <a:spcBef>
                <a:spcPts val="1500"/>
              </a:spcBef>
              <a:spcAft>
                <a:spcPts val="0"/>
              </a:spcAft>
              <a:buSzPts val="1104"/>
              <a:buChar char="◼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15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91954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3">
            <a:extLst>
              <a:ext uri="{FF2B5EF4-FFF2-40B4-BE49-F238E27FC236}">
                <a16:creationId xmlns:a16="http://schemas.microsoft.com/office/drawing/2014/main" id="{997B2A5A-8BBC-43A4-8010-4E40DCCDED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頁尾版面配置區 4">
            <a:extLst>
              <a:ext uri="{FF2B5EF4-FFF2-40B4-BE49-F238E27FC236}">
                <a16:creationId xmlns:a16="http://schemas.microsoft.com/office/drawing/2014/main" id="{61CEB427-498A-411C-879C-DFAA15CBA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投影片編號版面配置區 5">
            <a:extLst>
              <a:ext uri="{FF2B5EF4-FFF2-40B4-BE49-F238E27FC236}">
                <a16:creationId xmlns:a16="http://schemas.microsoft.com/office/drawing/2014/main" id="{664DC89D-0F85-4713-8A83-FB4CC44C7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96BAFE-4D11-4261-BA5E-985C75D6195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45275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A7DF2E2-D5EA-4496-98A3-0CA79726C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>
            <a:extLst>
              <a:ext uri="{FF2B5EF4-FFF2-40B4-BE49-F238E27FC236}">
                <a16:creationId xmlns:a16="http://schemas.microsoft.com/office/drawing/2014/main" id="{CD1BD485-56AC-496C-8EBA-09E16A462D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3447ADC5-DF55-4ED2-88F2-37CA6F6C8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C8DB644F-53E4-4E12-B3F0-32103D799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225F7FAB-32F5-4289-BC43-EC9BC2F0D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539966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910B29C-D606-4B02-B72E-9F7E59D04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86806F11-4018-4A16-8B24-5C878972AA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62C12159-ABF6-4852-ADF0-95A267F79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54A1931F-31A2-4DF8-8328-372BFDC51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7E78C7B8-1378-4CAA-B6DD-FD01A3E00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428335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2BCA975-2BC0-4E09-9057-39EC463347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F660253B-A98B-4A09-BB61-7EEE4A3588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11E00637-A3C9-41CD-9F17-EA0338ABAF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DE542FC1-0FE7-4DF5-97DD-36C00C941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B0AFAD73-D77D-472C-BF6F-9AA60A4B0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146191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B4E97B30-E144-4CC7-BFDD-BA3688A86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4C5C39E1-63B1-45BD-AF6B-5AF712405D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BD68E8B1-5018-4591-8EA5-5E9249CEC5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E27601E0-C31C-4125-85CB-EB6DE6CE14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3338B2E2-D71A-4C59-B6B5-D1AE7A61A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CB088703-209D-4FB7-8A66-6160BCA2F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17568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0B6DA1B-2D41-4C60-BB87-EC34ED28B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138D1D2A-78B7-44EE-81EA-2CB11530C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49B604FE-1DAD-4E60-BCCA-5E98AB3311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>
            <a:extLst>
              <a:ext uri="{FF2B5EF4-FFF2-40B4-BE49-F238E27FC236}">
                <a16:creationId xmlns:a16="http://schemas.microsoft.com/office/drawing/2014/main" id="{245692A1-3F72-45D5-9C6E-8EB88F662D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>
            <a:extLst>
              <a:ext uri="{FF2B5EF4-FFF2-40B4-BE49-F238E27FC236}">
                <a16:creationId xmlns:a16="http://schemas.microsoft.com/office/drawing/2014/main" id="{F6C54D21-2FAF-4EA8-9784-6969CF5627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日期版面配置區 6">
            <a:extLst>
              <a:ext uri="{FF2B5EF4-FFF2-40B4-BE49-F238E27FC236}">
                <a16:creationId xmlns:a16="http://schemas.microsoft.com/office/drawing/2014/main" id="{540BB6AC-058A-4D5E-B869-C3F88BC8D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8" name="頁尾版面配置區 7">
            <a:extLst>
              <a:ext uri="{FF2B5EF4-FFF2-40B4-BE49-F238E27FC236}">
                <a16:creationId xmlns:a16="http://schemas.microsoft.com/office/drawing/2014/main" id="{916D7886-94C8-41B4-81D0-FB068F4EB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投影片編號版面配置區 8">
            <a:extLst>
              <a:ext uri="{FF2B5EF4-FFF2-40B4-BE49-F238E27FC236}">
                <a16:creationId xmlns:a16="http://schemas.microsoft.com/office/drawing/2014/main" id="{17356DCC-B09F-4D7C-93D0-C96D9124C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622324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20F0F0FE-815E-4A41-9400-D641A7DC1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版面配置區 2">
            <a:extLst>
              <a:ext uri="{FF2B5EF4-FFF2-40B4-BE49-F238E27FC236}">
                <a16:creationId xmlns:a16="http://schemas.microsoft.com/office/drawing/2014/main" id="{257CBDA4-C746-495A-9AB2-358DFD9686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頁尾版面配置區 3">
            <a:extLst>
              <a:ext uri="{FF2B5EF4-FFF2-40B4-BE49-F238E27FC236}">
                <a16:creationId xmlns:a16="http://schemas.microsoft.com/office/drawing/2014/main" id="{9D2DFB50-87BE-40F4-9273-7C1905D45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C602F980-E34E-4823-B49A-3C925B961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173169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>
            <a:extLst>
              <a:ext uri="{FF2B5EF4-FFF2-40B4-BE49-F238E27FC236}">
                <a16:creationId xmlns:a16="http://schemas.microsoft.com/office/drawing/2014/main" id="{53CA4BC8-9CF1-4502-B85C-22C113A7F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頁尾版面配置區 2">
            <a:extLst>
              <a:ext uri="{FF2B5EF4-FFF2-40B4-BE49-F238E27FC236}">
                <a16:creationId xmlns:a16="http://schemas.microsoft.com/office/drawing/2014/main" id="{6D39A257-50CF-4E92-85EB-6C2F8C483F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95A94AA1-EA79-43CF-9FF1-82885B9630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786454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輔助字幕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8DF53F35-4741-4E99-9211-918A18EBD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E5CDA80C-C431-455A-816D-43729FAD92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DF2B660F-9B2D-4AF9-9678-E4EEE4782B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679BA25C-9EF8-41A6-B207-47E8CD20C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9F8FC782-75A5-4BDF-AAEB-5564048C9F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392473A2-B0B5-4075-8EBB-A16669781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88668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版面配置區 2">
            <a:extLst>
              <a:ext uri="{FF2B5EF4-FFF2-40B4-BE49-F238E27FC236}">
                <a16:creationId xmlns:a16="http://schemas.microsoft.com/office/drawing/2014/main" id="{579EEE44-BFCF-4CAB-BE21-CB35B5ABAF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zh-TW" altLang="en-US"/>
          </a:p>
        </p:txBody>
      </p:sp>
      <p:sp>
        <p:nvSpPr>
          <p:cNvPr id="4" name="頁尾版面配置區 3">
            <a:extLst>
              <a:ext uri="{FF2B5EF4-FFF2-40B4-BE49-F238E27FC236}">
                <a16:creationId xmlns:a16="http://schemas.microsoft.com/office/drawing/2014/main" id="{E8D59839-B7E4-466B-A7E7-90B71E77F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1394FC7E-C5D7-43B7-A63D-65DEE70730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9191CFE-8839-40F1-BF6D-EEF376483E46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785178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輔助字幕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00FF632-12EB-43DE-BC55-67662B3EF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>
            <a:extLst>
              <a:ext uri="{FF2B5EF4-FFF2-40B4-BE49-F238E27FC236}">
                <a16:creationId xmlns:a16="http://schemas.microsoft.com/office/drawing/2014/main" id="{A5EC84B3-0D24-48D6-A1AD-9C4823BCE0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6D90746C-473B-4A07-BE3D-5E6CE401FD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71C31374-FBFC-4992-9A77-2940C6D82D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33FC6D4D-DF07-48D6-9C02-C58F37CA8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2B9C367B-DBD9-4FFD-8A2B-1C83D181E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7597346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93404ABF-6CE0-4BF5-98C8-3A0AF3F6AC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1A74A901-D595-4AD4-A135-D26458898D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BE13D201-6224-4929-9F71-43FAC6AD2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75137D77-A9CF-4B9F-9E31-2E1D17DA0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5931ED20-541B-4B0D-A9DA-05DC933FDF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615567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>
            <a:extLst>
              <a:ext uri="{FF2B5EF4-FFF2-40B4-BE49-F238E27FC236}">
                <a16:creationId xmlns:a16="http://schemas.microsoft.com/office/drawing/2014/main" id="{D09102BE-5239-4359-A7F6-79A265E7670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4945A90D-79B8-4E83-A61C-033DBC488E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BCDDA6D3-4206-4C57-9142-AA1584211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83895BEE-AC6B-4233-9C7B-B8F45B66B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6EAA095C-A6E8-409D-9E95-A0BD403A86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904599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4_Blank with Footer &amp;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8371CC7-E53D-4FB6-B2E8-8CC607C1C9E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119294" y="0"/>
            <a:ext cx="2850696" cy="6858000"/>
          </a:xfrm>
          <a:custGeom>
            <a:avLst/>
            <a:gdLst>
              <a:gd name="connsiteX0" fmla="*/ 0 w 2850696"/>
              <a:gd name="connsiteY0" fmla="*/ 0 h 6858000"/>
              <a:gd name="connsiteX1" fmla="*/ 2850696 w 2850696"/>
              <a:gd name="connsiteY1" fmla="*/ 0 h 6858000"/>
              <a:gd name="connsiteX2" fmla="*/ 2850696 w 2850696"/>
              <a:gd name="connsiteY2" fmla="*/ 6858000 h 6858000"/>
              <a:gd name="connsiteX3" fmla="*/ 0 w 285069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0696" h="6858000">
                <a:moveTo>
                  <a:pt x="0" y="0"/>
                </a:moveTo>
                <a:lnTo>
                  <a:pt x="2850696" y="0"/>
                </a:lnTo>
                <a:lnTo>
                  <a:pt x="285069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850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只有標題">
  <p:cSld name="1_只有標題"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7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27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7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3" name="Google Shape;83;p27"/>
          <p:cNvSpPr txBox="1">
            <a:spLocks noGrp="1"/>
          </p:cNvSpPr>
          <p:nvPr>
            <p:ph type="title"/>
          </p:nvPr>
        </p:nvSpPr>
        <p:spPr>
          <a:xfrm>
            <a:off x="581192" y="702156"/>
            <a:ext cx="11029616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27"/>
          <p:cNvSpPr/>
          <p:nvPr/>
        </p:nvSpPr>
        <p:spPr>
          <a:xfrm>
            <a:off x="0" y="806538"/>
            <a:ext cx="453601" cy="36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50880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E9569E78-1218-43A2-85D2-A5B39D846C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副標題 2">
            <a:extLst>
              <a:ext uri="{FF2B5EF4-FFF2-40B4-BE49-F238E27FC236}">
                <a16:creationId xmlns:a16="http://schemas.microsoft.com/office/drawing/2014/main" id="{EB108371-B1BB-4909-A09A-09DC45F092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F0C1B094-A7F6-47D6-817C-DD54549CD3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A8815C43-45B4-4E15-806C-05A6761A46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0997D1D8-FE12-4A66-BFB5-7F879DF4FF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1330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9BA9F454-BA2B-4FDE-94FF-FC298DCC8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4D1A40FE-0710-4150-8771-6EA88A3144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1219FAE3-97B9-411E-BE5B-8D005D7A8D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E99FE6B3-1CFC-42B1-AA12-6B04CB1F69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C9CFDCF8-C2D3-4360-84EA-9251DC341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8030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0CD744D7-0D24-475E-AC92-B15586F6F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91E60A90-764E-4342-887E-BCB841338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5E7323C4-2640-41A7-9D4B-AA3828DDA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2D3D02C1-7F76-427D-B49D-E4E60B888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2BA76F36-D030-40C6-8517-D86C85717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31422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9F935114-0B3A-4975-B77F-4D890BAD4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D677AB7F-F7B9-42E4-9785-7F919CF525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5EB0467C-EBF1-48CF-AD92-66CCCA0AB2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187577AC-6B43-454C-8A0D-9BDE9B5C9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8A42E044-CED3-4A34-B364-1DB518548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1ACD24BC-72F1-4EB9-B3A1-B5B9982157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805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31D7D2DE-D63C-4B8A-AF99-2001BD975E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D59A77FD-4669-4D2D-8607-B4324B77AE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內容版面配置區 3">
            <a:extLst>
              <a:ext uri="{FF2B5EF4-FFF2-40B4-BE49-F238E27FC236}">
                <a16:creationId xmlns:a16="http://schemas.microsoft.com/office/drawing/2014/main" id="{276CBAA9-3647-45AE-B886-8F73CECC35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5" name="文字版面配置區 4">
            <a:extLst>
              <a:ext uri="{FF2B5EF4-FFF2-40B4-BE49-F238E27FC236}">
                <a16:creationId xmlns:a16="http://schemas.microsoft.com/office/drawing/2014/main" id="{9A0A2E86-6A76-4E81-90BF-FC92F9F597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內容版面配置區 5">
            <a:extLst>
              <a:ext uri="{FF2B5EF4-FFF2-40B4-BE49-F238E27FC236}">
                <a16:creationId xmlns:a16="http://schemas.microsoft.com/office/drawing/2014/main" id="{62C24E37-6C18-4B27-ADC2-A0341F2993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7" name="日期版面配置區 6">
            <a:extLst>
              <a:ext uri="{FF2B5EF4-FFF2-40B4-BE49-F238E27FC236}">
                <a16:creationId xmlns:a16="http://schemas.microsoft.com/office/drawing/2014/main" id="{C825A865-424B-4B19-B89A-59AACCBDC6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8" name="頁尾版面配置區 7">
            <a:extLst>
              <a:ext uri="{FF2B5EF4-FFF2-40B4-BE49-F238E27FC236}">
                <a16:creationId xmlns:a16="http://schemas.microsoft.com/office/drawing/2014/main" id="{77029560-8F5A-44E3-8C80-72D822D1A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投影片編號版面配置區 8">
            <a:extLst>
              <a:ext uri="{FF2B5EF4-FFF2-40B4-BE49-F238E27FC236}">
                <a16:creationId xmlns:a16="http://schemas.microsoft.com/office/drawing/2014/main" id="{C469C0C2-EB03-449F-8942-F9925FB74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053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914400" y="2648572"/>
            <a:ext cx="10363200" cy="1057333"/>
          </a:xfrm>
        </p:spPr>
        <p:txBody>
          <a:bodyPr anchor="t">
            <a:noAutofit/>
          </a:bodyPr>
          <a:lstStyle>
            <a:lvl1pPr algn="ctr">
              <a:defRPr sz="6400" baseline="0">
                <a:solidFill>
                  <a:schemeClr val="accent1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YOUR TITLE GOES HERE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910974" y="5685251"/>
            <a:ext cx="10370052" cy="1008112"/>
          </a:xfrm>
        </p:spPr>
        <p:txBody>
          <a:bodyPr>
            <a:normAutofit/>
          </a:bodyPr>
          <a:lstStyle>
            <a:lvl1pPr marL="0" indent="0" algn="ctr">
              <a:buNone/>
              <a:defRPr sz="1333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544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en-US" altLang="ja-JP" dirty="0"/>
              <a:t>Information</a:t>
            </a:r>
            <a:endParaRPr kumimoji="1" lang="ja-JP" altLang="en-US" dirty="0"/>
          </a:p>
        </p:txBody>
      </p:sp>
      <p:sp>
        <p:nvSpPr>
          <p:cNvPr id="9" name="テキスト プレースホルダー 8"/>
          <p:cNvSpPr>
            <a:spLocks noGrp="1"/>
          </p:cNvSpPr>
          <p:nvPr>
            <p:ph type="body" sz="quarter" idx="10" hasCustomPrompt="1"/>
          </p:nvPr>
        </p:nvSpPr>
        <p:spPr>
          <a:xfrm>
            <a:off x="910974" y="3669060"/>
            <a:ext cx="10370052" cy="576031"/>
          </a:xfrm>
        </p:spPr>
        <p:txBody>
          <a:bodyPr anchor="b">
            <a:noAutofit/>
          </a:bodyPr>
          <a:lstStyle>
            <a:lvl1pPr algn="ctr">
              <a:defRPr sz="2667">
                <a:solidFill>
                  <a:schemeClr val="tx2"/>
                </a:solidFill>
                <a:latin typeface="Route 159 UltraLight" pitchFamily="50" charset="0"/>
              </a:defRPr>
            </a:lvl1pPr>
          </a:lstStyle>
          <a:p>
            <a:pPr lvl="0"/>
            <a:r>
              <a:rPr kumimoji="1" lang="en-US" altLang="ja-JP" dirty="0"/>
              <a:t>Subtitle goes here</a:t>
            </a:r>
            <a:endParaRPr kumimoji="1" lang="ja-JP" altLang="en-US" dirty="0"/>
          </a:p>
        </p:txBody>
      </p:sp>
      <p:grpSp>
        <p:nvGrpSpPr>
          <p:cNvPr id="6" name="グループ化 5"/>
          <p:cNvGrpSpPr/>
          <p:nvPr userDrawn="1"/>
        </p:nvGrpSpPr>
        <p:grpSpPr>
          <a:xfrm>
            <a:off x="5730640" y="5397219"/>
            <a:ext cx="725488" cy="125685"/>
            <a:chOff x="8595214" y="6592642"/>
            <a:chExt cx="1088138" cy="188527"/>
          </a:xfrm>
        </p:grpSpPr>
        <p:sp>
          <p:nvSpPr>
            <p:cNvPr id="24" name="円/楕円 23"/>
            <p:cNvSpPr/>
            <p:nvPr userDrawn="1"/>
          </p:nvSpPr>
          <p:spPr>
            <a:xfrm>
              <a:off x="9048943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5" name="円/楕円 24"/>
            <p:cNvSpPr/>
            <p:nvPr userDrawn="1"/>
          </p:nvSpPr>
          <p:spPr>
            <a:xfrm>
              <a:off x="8595214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6" name="円/楕円 25"/>
            <p:cNvSpPr/>
            <p:nvPr userDrawn="1"/>
          </p:nvSpPr>
          <p:spPr>
            <a:xfrm>
              <a:off x="9494825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</p:grpSp>
      <p:sp>
        <p:nvSpPr>
          <p:cNvPr id="4" name="円/楕円 3"/>
          <p:cNvSpPr/>
          <p:nvPr userDrawn="1"/>
        </p:nvSpPr>
        <p:spPr>
          <a:xfrm>
            <a:off x="4693247" y="1661411"/>
            <a:ext cx="576114" cy="5760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12" name="円/楕円 11"/>
          <p:cNvSpPr/>
          <p:nvPr userDrawn="1"/>
        </p:nvSpPr>
        <p:spPr>
          <a:xfrm>
            <a:off x="5436378" y="1661411"/>
            <a:ext cx="576114" cy="5760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13" name="円/楕円 12"/>
          <p:cNvSpPr/>
          <p:nvPr userDrawn="1"/>
        </p:nvSpPr>
        <p:spPr>
          <a:xfrm>
            <a:off x="6179508" y="1661411"/>
            <a:ext cx="576114" cy="5760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14" name="円/楕円 13"/>
          <p:cNvSpPr/>
          <p:nvPr userDrawn="1"/>
        </p:nvSpPr>
        <p:spPr>
          <a:xfrm>
            <a:off x="6922638" y="1661411"/>
            <a:ext cx="576114" cy="57606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3248133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95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95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" grpId="0" animBg="1"/>
      <p:bldP spid="12" grpId="0" animBg="1"/>
      <p:bldP spid="13" grpId="0" animBg="1"/>
      <p:bldP spid="14" grpId="0" animBg="1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2B7612EA-D929-456E-B748-B33E2554F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日期版面配置區 2">
            <a:extLst>
              <a:ext uri="{FF2B5EF4-FFF2-40B4-BE49-F238E27FC236}">
                <a16:creationId xmlns:a16="http://schemas.microsoft.com/office/drawing/2014/main" id="{368D8C73-674F-4D3D-A430-C96EC6D4FE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頁尾版面配置區 3">
            <a:extLst>
              <a:ext uri="{FF2B5EF4-FFF2-40B4-BE49-F238E27FC236}">
                <a16:creationId xmlns:a16="http://schemas.microsoft.com/office/drawing/2014/main" id="{CF0F602C-66C8-4C6D-B6B8-8CC97638DB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6C01CF39-D7EE-455B-9558-8DC9147BF4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2633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>
            <a:extLst>
              <a:ext uri="{FF2B5EF4-FFF2-40B4-BE49-F238E27FC236}">
                <a16:creationId xmlns:a16="http://schemas.microsoft.com/office/drawing/2014/main" id="{382BED72-4E73-40B8-9A82-B44E95539C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zh-TW" altLang="en-US"/>
          </a:p>
        </p:txBody>
      </p:sp>
      <p:sp>
        <p:nvSpPr>
          <p:cNvPr id="3" name="頁尾版面配置區 2">
            <a:extLst>
              <a:ext uri="{FF2B5EF4-FFF2-40B4-BE49-F238E27FC236}">
                <a16:creationId xmlns:a16="http://schemas.microsoft.com/office/drawing/2014/main" id="{3C82692A-89BA-43C5-966B-102E1B6B06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TW" altLang="en-US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D5345E4B-939A-4187-A451-50659275A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96BAFE-4D11-4261-BA5E-985C75D6195D}" type="slidenum">
              <a:rPr lang="zh-TW" altLang="en-US" smtClean="0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9952225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輔助字幕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0941B338-B982-4075-8ED4-DE8EE22C2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B2FADB30-22E2-4C41-9425-3DD3A148B5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BB581D39-AB43-4E10-B524-5582D2A751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05F2E9AC-6FFC-427F-8175-352DA4D53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0564AD05-BE49-41EB-8419-F39A49543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C757704E-621F-47FC-A7F0-54D5C0781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810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輔助字幕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F8F4812C-050E-483F-A947-7EDE5E3195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圖片版面配置區 2">
            <a:extLst>
              <a:ext uri="{FF2B5EF4-FFF2-40B4-BE49-F238E27FC236}">
                <a16:creationId xmlns:a16="http://schemas.microsoft.com/office/drawing/2014/main" id="{8D963E1A-6A8E-45E6-A7C3-6EB058D1ED5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TW" altLang="en-US"/>
          </a:p>
        </p:txBody>
      </p:sp>
      <p:sp>
        <p:nvSpPr>
          <p:cNvPr id="4" name="文字版面配置區 3">
            <a:extLst>
              <a:ext uri="{FF2B5EF4-FFF2-40B4-BE49-F238E27FC236}">
                <a16:creationId xmlns:a16="http://schemas.microsoft.com/office/drawing/2014/main" id="{7F443BD7-82A3-43C2-BF8A-B42C3BE719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日期版面配置區 4">
            <a:extLst>
              <a:ext uri="{FF2B5EF4-FFF2-40B4-BE49-F238E27FC236}">
                <a16:creationId xmlns:a16="http://schemas.microsoft.com/office/drawing/2014/main" id="{5A5D2C13-6859-4A9F-93A4-B0C3557901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頁尾版面配置區 5">
            <a:extLst>
              <a:ext uri="{FF2B5EF4-FFF2-40B4-BE49-F238E27FC236}">
                <a16:creationId xmlns:a16="http://schemas.microsoft.com/office/drawing/2014/main" id="{858F671A-A75B-4F1C-A342-F7CCD50F3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814047B8-A8FA-4293-84BF-67461C44C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2219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929719C2-C5F9-4686-950F-40D4FF141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4F180A87-3B3E-4246-A0AA-5104D600A0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E5E35DB0-1A95-4ECE-B3C0-6B3639D9EB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D21BCD8A-E560-4E2C-BB2B-53424D53A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00D66986-16E7-4767-A6BD-D54F518AE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6585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>
            <a:extLst>
              <a:ext uri="{FF2B5EF4-FFF2-40B4-BE49-F238E27FC236}">
                <a16:creationId xmlns:a16="http://schemas.microsoft.com/office/drawing/2014/main" id="{77A2D894-C03D-4DA8-A7C5-1CDA8F4C03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直排文字版面配置區 2">
            <a:extLst>
              <a:ext uri="{FF2B5EF4-FFF2-40B4-BE49-F238E27FC236}">
                <a16:creationId xmlns:a16="http://schemas.microsoft.com/office/drawing/2014/main" id="{696E434D-0B99-4935-B3F5-128D03FA99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A85B6ADC-A5C4-484B-97E1-62B7A15EC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CF130080-7BC0-4138-8C02-BEAA00F1F0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D3F2D51A-766B-489D-86A1-85FFD670E2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5049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圖庫">
  <p:cSld name="圖庫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24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4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4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" name="Google Shape;51;p24"/>
          <p:cNvSpPr>
            <a:spLocks noGrp="1"/>
          </p:cNvSpPr>
          <p:nvPr>
            <p:ph type="pic" idx="2"/>
          </p:nvPr>
        </p:nvSpPr>
        <p:spPr>
          <a:xfrm>
            <a:off x="10128308" y="717550"/>
            <a:ext cx="2063601" cy="4953001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52" name="Google Shape;52;p24"/>
          <p:cNvSpPr>
            <a:spLocks noGrp="1"/>
          </p:cNvSpPr>
          <p:nvPr>
            <p:ph type="pic" idx="3"/>
          </p:nvPr>
        </p:nvSpPr>
        <p:spPr>
          <a:xfrm>
            <a:off x="1274457" y="3168650"/>
            <a:ext cx="3367194" cy="36893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53" name="Google Shape;53;p24"/>
          <p:cNvSpPr>
            <a:spLocks noGrp="1"/>
          </p:cNvSpPr>
          <p:nvPr>
            <p:ph type="pic" idx="4"/>
          </p:nvPr>
        </p:nvSpPr>
        <p:spPr>
          <a:xfrm>
            <a:off x="1274457" y="0"/>
            <a:ext cx="3367194" cy="2667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57" name="Google Shape;57;p24"/>
          <p:cNvSpPr txBox="1">
            <a:spLocks noGrp="1"/>
          </p:cNvSpPr>
          <p:nvPr>
            <p:ph type="title"/>
          </p:nvPr>
        </p:nvSpPr>
        <p:spPr>
          <a:xfrm>
            <a:off x="6152484" y="3486000"/>
            <a:ext cx="3658324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676075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物件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175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480" imgH="479" progId="TCLayout.ActiveDocument.1">
                  <p:embed/>
                </p:oleObj>
              </mc:Choice>
              <mc:Fallback>
                <p:oleObj name="think-cell Slide" r:id="rId4" imgW="480" imgH="479" progId="TCLayout.ActiveDocument.1">
                  <p:embed/>
                  <p:pic>
                    <p:nvPicPr>
                      <p:cNvPr id="8" name="物件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54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/>
              <a:t>按一下以編輯母片副標題樣式</a:t>
            </a:r>
            <a:endParaRPr lang="en-US" dirty="0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FED83F2C-C28A-473B-8B7C-4562511E504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40570" y="4098"/>
            <a:ext cx="1451429" cy="181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65999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物件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831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480" imgH="479" progId="TCLayout.ActiveDocument.1">
                  <p:embed/>
                </p:oleObj>
              </mc:Choice>
              <mc:Fallback>
                <p:oleObj name="think-cell Slide" r:id="rId4" imgW="480" imgH="479" progId="TCLayout.ActiveDocument.1">
                  <p:embed/>
                  <p:pic>
                    <p:nvPicPr>
                      <p:cNvPr id="7" name="物件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6">
            <a:extLst>
              <a:ext uri="{FF2B5EF4-FFF2-40B4-BE49-F238E27FC236}">
                <a16:creationId xmlns:a16="http://schemas.microsoft.com/office/drawing/2014/main" id="{422DC57F-327A-4AD6-8CE9-BC7021274B55}"/>
              </a:ext>
            </a:extLst>
          </p:cNvPr>
          <p:cNvSpPr/>
          <p:nvPr userDrawn="1"/>
        </p:nvSpPr>
        <p:spPr>
          <a:xfrm rot="16200000">
            <a:off x="-398592" y="408120"/>
            <a:ext cx="912438" cy="10572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250896"/>
            <a:ext cx="10856913" cy="553526"/>
          </a:xfrm>
          <a:prstGeom prst="rect">
            <a:avLst/>
          </a:prstGeom>
        </p:spPr>
        <p:txBody>
          <a:bodyPr vert="horz"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zh-TW" altLang="en-US" dirty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701" y="1052945"/>
            <a:ext cx="10856912" cy="522316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zh-TW" altLang="en-US" dirty="0"/>
              <a:t>編輯母片文字樣式</a:t>
            </a:r>
          </a:p>
          <a:p>
            <a:pPr lvl="1"/>
            <a:r>
              <a:rPr lang="zh-TW" altLang="en-US" dirty="0"/>
              <a:t>第二層</a:t>
            </a:r>
          </a:p>
          <a:p>
            <a:pPr lvl="2"/>
            <a:r>
              <a:rPr lang="zh-TW" altLang="en-US" dirty="0"/>
              <a:t>第三層</a:t>
            </a:r>
          </a:p>
          <a:p>
            <a:pPr lvl="3"/>
            <a:r>
              <a:rPr lang="zh-TW" altLang="en-US" dirty="0"/>
              <a:t>第四層</a:t>
            </a:r>
          </a:p>
          <a:p>
            <a:pPr lvl="4"/>
            <a:r>
              <a:rPr lang="zh-TW" altLang="en-US" dirty="0"/>
              <a:t>第五層</a:t>
            </a:r>
            <a:endParaRPr lang="en-US" dirty="0"/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4D75E09F-374B-4B92-B91B-CBD9F2478738}"/>
              </a:ext>
            </a:extLst>
          </p:cNvPr>
          <p:cNvSpPr/>
          <p:nvPr userDrawn="1"/>
        </p:nvSpPr>
        <p:spPr>
          <a:xfrm>
            <a:off x="11647939" y="6467075"/>
            <a:ext cx="424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D57F1E4F-1CFF-5643-939E-217C01CDF565}" type="slidenum">
              <a:rPr lang="en-US" altLang="zh-TW" sz="1200" smtClean="0">
                <a:solidFill>
                  <a:schemeClr val="tx1"/>
                </a:solidFill>
              </a:rPr>
              <a:pPr/>
              <a:t>‹#›</a:t>
            </a:fld>
            <a:endParaRPr lang="zh-TW" altLang="en-US" sz="1200" dirty="0">
              <a:solidFill>
                <a:schemeClr val="tx1"/>
              </a:solidFill>
            </a:endParaRPr>
          </a:p>
        </p:txBody>
      </p:sp>
      <p:pic>
        <p:nvPicPr>
          <p:cNvPr id="6" name="圖片 5">
            <a:extLst>
              <a:ext uri="{FF2B5EF4-FFF2-40B4-BE49-F238E27FC236}">
                <a16:creationId xmlns:a16="http://schemas.microsoft.com/office/drawing/2014/main" id="{F242D1FC-07CB-4818-8721-827D2EAF7E3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309925" y="31783"/>
            <a:ext cx="873820" cy="885419"/>
          </a:xfrm>
          <a:prstGeom prst="rect">
            <a:avLst/>
          </a:prstGeom>
        </p:spPr>
      </p:pic>
      <p:cxnSp>
        <p:nvCxnSpPr>
          <p:cNvPr id="8" name="直線接點 7">
            <a:extLst>
              <a:ext uri="{FF2B5EF4-FFF2-40B4-BE49-F238E27FC236}">
                <a16:creationId xmlns:a16="http://schemas.microsoft.com/office/drawing/2014/main" id="{98D31D64-4AE6-4624-B26A-4C34D1C98D2A}"/>
              </a:ext>
            </a:extLst>
          </p:cNvPr>
          <p:cNvCxnSpPr>
            <a:cxnSpLocks/>
          </p:cNvCxnSpPr>
          <p:nvPr userDrawn="1"/>
        </p:nvCxnSpPr>
        <p:spPr>
          <a:xfrm>
            <a:off x="346527" y="900104"/>
            <a:ext cx="11150148" cy="0"/>
          </a:xfrm>
          <a:prstGeom prst="line">
            <a:avLst/>
          </a:prstGeom>
          <a:ln w="19050">
            <a:solidFill>
              <a:srgbClr val="FF01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Rectangle 6">
            <a:extLst>
              <a:ext uri="{FF2B5EF4-FFF2-40B4-BE49-F238E27FC236}">
                <a16:creationId xmlns:a16="http://schemas.microsoft.com/office/drawing/2014/main" id="{EB6A1A7A-D77D-40C7-BE23-B8C221D59B1B}"/>
              </a:ext>
            </a:extLst>
          </p:cNvPr>
          <p:cNvSpPr/>
          <p:nvPr userDrawn="1"/>
        </p:nvSpPr>
        <p:spPr>
          <a:xfrm rot="16200000">
            <a:off x="-252110" y="436489"/>
            <a:ext cx="912436" cy="4898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422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106">
          <p15:clr>
            <a:srgbClr val="FBAE40"/>
          </p15:clr>
        </p15:guide>
        <p15:guide id="4" pos="724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訂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物件 2" hidden="1">
            <a:extLst>
              <a:ext uri="{FF2B5EF4-FFF2-40B4-BE49-F238E27FC236}">
                <a16:creationId xmlns:a16="http://schemas.microsoft.com/office/drawing/2014/main" id="{6E5F2ACF-A3A0-4307-AF75-8E4130DA16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465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物件 2" hidden="1">
                        <a:extLst>
                          <a:ext uri="{FF2B5EF4-FFF2-40B4-BE49-F238E27FC236}">
                            <a16:creationId xmlns:a16="http://schemas.microsoft.com/office/drawing/2014/main" id="{6E5F2ACF-A3A0-4307-AF75-8E4130DA16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標題 1">
            <a:extLst>
              <a:ext uri="{FF2B5EF4-FFF2-40B4-BE49-F238E27FC236}">
                <a16:creationId xmlns:a16="http://schemas.microsoft.com/office/drawing/2014/main" id="{3DF3E22A-32CA-4ACC-B8DC-27DA9E2FF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4292" y="3186702"/>
            <a:ext cx="10515600" cy="697321"/>
          </a:xfrm>
          <a:prstGeom prst="rect">
            <a:avLst/>
          </a:prstGeom>
        </p:spPr>
        <p:txBody>
          <a:bodyPr/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1A353F5F-0B22-47B2-9A79-2ED0294CB204}"/>
              </a:ext>
            </a:extLst>
          </p:cNvPr>
          <p:cNvSpPr/>
          <p:nvPr userDrawn="1"/>
        </p:nvSpPr>
        <p:spPr>
          <a:xfrm>
            <a:off x="11767002" y="6466216"/>
            <a:ext cx="4249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fld id="{D57F1E4F-1CFF-5643-939E-217C01CDF565}" type="slidenum">
              <a:rPr lang="en-US" altLang="zh-TW" sz="1200" smtClean="0">
                <a:solidFill>
                  <a:schemeClr val="tx1"/>
                </a:solidFill>
              </a:rPr>
              <a:pPr/>
              <a:t>‹#›</a:t>
            </a:fld>
            <a:endParaRPr lang="zh-TW" altLang="en-US" sz="1200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F9E906-1927-4871-9695-225F53E3C7D2}"/>
              </a:ext>
            </a:extLst>
          </p:cNvPr>
          <p:cNvSpPr/>
          <p:nvPr userDrawn="1"/>
        </p:nvSpPr>
        <p:spPr>
          <a:xfrm rot="16200000">
            <a:off x="6039730" y="692542"/>
            <a:ext cx="108000" cy="1219654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4F81B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  <p:pic>
        <p:nvPicPr>
          <p:cNvPr id="8" name="圖片 7">
            <a:extLst>
              <a:ext uri="{FF2B5EF4-FFF2-40B4-BE49-F238E27FC236}">
                <a16:creationId xmlns:a16="http://schemas.microsoft.com/office/drawing/2014/main" id="{99B4020F-470D-4D11-B6F5-807CACE0FE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309925" y="31783"/>
            <a:ext cx="873820" cy="88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2845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imat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/>
          <p:cNvSpPr/>
          <p:nvPr userDrawn="1"/>
        </p:nvSpPr>
        <p:spPr>
          <a:xfrm rot="21066044">
            <a:off x="-6369536" y="-3292475"/>
            <a:ext cx="23609443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7" name="正方形/長方形 6"/>
          <p:cNvSpPr/>
          <p:nvPr userDrawn="1"/>
        </p:nvSpPr>
        <p:spPr>
          <a:xfrm rot="21066044">
            <a:off x="-5193303" y="3344665"/>
            <a:ext cx="2360329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8" name="正方形/長方形 7"/>
          <p:cNvSpPr/>
          <p:nvPr userDrawn="1"/>
        </p:nvSpPr>
        <p:spPr>
          <a:xfrm rot="21066044">
            <a:off x="-6369536" y="-3292475"/>
            <a:ext cx="23609443" cy="6858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9" name="正方形/長方形 8"/>
          <p:cNvSpPr/>
          <p:nvPr userDrawn="1"/>
        </p:nvSpPr>
        <p:spPr>
          <a:xfrm rot="21066044">
            <a:off x="-5193303" y="3344665"/>
            <a:ext cx="23603290" cy="6858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0" name="正方形/長方形 9"/>
          <p:cNvSpPr/>
          <p:nvPr userDrawn="1"/>
        </p:nvSpPr>
        <p:spPr>
          <a:xfrm rot="21066044">
            <a:off x="-6369536" y="-3292475"/>
            <a:ext cx="23609443" cy="685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1" name="正方形/長方形 10"/>
          <p:cNvSpPr/>
          <p:nvPr userDrawn="1"/>
        </p:nvSpPr>
        <p:spPr>
          <a:xfrm rot="21066044">
            <a:off x="-5193303" y="3344665"/>
            <a:ext cx="23603290" cy="6858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2" name="正方形/長方形 11"/>
          <p:cNvSpPr/>
          <p:nvPr userDrawn="1"/>
        </p:nvSpPr>
        <p:spPr>
          <a:xfrm rot="21066044">
            <a:off x="-6369536" y="-3292475"/>
            <a:ext cx="23609443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sp>
        <p:nvSpPr>
          <p:cNvPr id="13" name="正方形/長方形 12"/>
          <p:cNvSpPr/>
          <p:nvPr userDrawn="1"/>
        </p:nvSpPr>
        <p:spPr>
          <a:xfrm rot="21066044">
            <a:off x="-5193303" y="3344665"/>
            <a:ext cx="23603290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200"/>
          </a:p>
        </p:txBody>
      </p:sp>
      <p:grpSp>
        <p:nvGrpSpPr>
          <p:cNvPr id="14" name="グループ化 13"/>
          <p:cNvGrpSpPr/>
          <p:nvPr userDrawn="1"/>
        </p:nvGrpSpPr>
        <p:grpSpPr>
          <a:xfrm rot="17100000">
            <a:off x="4415471" y="1613249"/>
            <a:ext cx="3360000" cy="3360292"/>
            <a:chOff x="6682240" y="2680152"/>
            <a:chExt cx="5040000" cy="5040000"/>
          </a:xfrm>
        </p:grpSpPr>
        <p:sp>
          <p:nvSpPr>
            <p:cNvPr id="15" name="円/楕円 14"/>
            <p:cNvSpPr/>
            <p:nvPr userDrawn="1"/>
          </p:nvSpPr>
          <p:spPr>
            <a:xfrm>
              <a:off x="6682240" y="2680152"/>
              <a:ext cx="5038725" cy="5038725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16" name="アーチ 15"/>
            <p:cNvSpPr/>
            <p:nvPr userDrawn="1"/>
          </p:nvSpPr>
          <p:spPr>
            <a:xfrm>
              <a:off x="6682240" y="2680152"/>
              <a:ext cx="5040000" cy="5040000"/>
            </a:xfrm>
            <a:prstGeom prst="blockArc">
              <a:avLst>
                <a:gd name="adj1" fmla="val 10800000"/>
                <a:gd name="adj2" fmla="val 3801423"/>
                <a:gd name="adj3" fmla="val 1486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17" name="グループ化 16"/>
          <p:cNvGrpSpPr>
            <a:grpSpLocks noChangeAspect="1"/>
          </p:cNvGrpSpPr>
          <p:nvPr userDrawn="1"/>
        </p:nvGrpSpPr>
        <p:grpSpPr>
          <a:xfrm rot="11994079">
            <a:off x="4295315" y="1493395"/>
            <a:ext cx="3600312" cy="3600000"/>
            <a:chOff x="6682240" y="2680152"/>
            <a:chExt cx="5040000" cy="5040000"/>
          </a:xfrm>
        </p:grpSpPr>
        <p:sp>
          <p:nvSpPr>
            <p:cNvPr id="18" name="円/楕円 17"/>
            <p:cNvSpPr/>
            <p:nvPr userDrawn="1"/>
          </p:nvSpPr>
          <p:spPr>
            <a:xfrm>
              <a:off x="6682240" y="2680152"/>
              <a:ext cx="5038725" cy="5038725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19" name="アーチ 18"/>
            <p:cNvSpPr/>
            <p:nvPr userDrawn="1"/>
          </p:nvSpPr>
          <p:spPr>
            <a:xfrm>
              <a:off x="6682240" y="2680152"/>
              <a:ext cx="5040000" cy="5040000"/>
            </a:xfrm>
            <a:prstGeom prst="blockArc">
              <a:avLst>
                <a:gd name="adj1" fmla="val 10800000"/>
                <a:gd name="adj2" fmla="val 3829372"/>
                <a:gd name="adj3" fmla="val 1485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20" name="グループ化 19"/>
          <p:cNvGrpSpPr>
            <a:grpSpLocks noChangeAspect="1"/>
          </p:cNvGrpSpPr>
          <p:nvPr userDrawn="1"/>
        </p:nvGrpSpPr>
        <p:grpSpPr>
          <a:xfrm rot="3600000">
            <a:off x="4175471" y="1373228"/>
            <a:ext cx="3840000" cy="3840333"/>
            <a:chOff x="6682240" y="2680152"/>
            <a:chExt cx="5040000" cy="5040000"/>
          </a:xfrm>
        </p:grpSpPr>
        <p:sp>
          <p:nvSpPr>
            <p:cNvPr id="21" name="円/楕円 20"/>
            <p:cNvSpPr/>
            <p:nvPr userDrawn="1"/>
          </p:nvSpPr>
          <p:spPr>
            <a:xfrm>
              <a:off x="6682240" y="2680152"/>
              <a:ext cx="5038725" cy="5038725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2" name="アーチ 21"/>
            <p:cNvSpPr/>
            <p:nvPr userDrawn="1"/>
          </p:nvSpPr>
          <p:spPr>
            <a:xfrm>
              <a:off x="6682240" y="2680152"/>
              <a:ext cx="5040000" cy="5040000"/>
            </a:xfrm>
            <a:prstGeom prst="blockArc">
              <a:avLst>
                <a:gd name="adj1" fmla="val 10800000"/>
                <a:gd name="adj2" fmla="val 3790965"/>
                <a:gd name="adj3" fmla="val 1411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グループ化 22"/>
          <p:cNvGrpSpPr>
            <a:grpSpLocks noChangeAspect="1"/>
          </p:cNvGrpSpPr>
          <p:nvPr userDrawn="1"/>
        </p:nvGrpSpPr>
        <p:grpSpPr>
          <a:xfrm rot="18000000">
            <a:off x="4055471" y="1253218"/>
            <a:ext cx="4080000" cy="4080354"/>
            <a:chOff x="6682240" y="2680152"/>
            <a:chExt cx="5040000" cy="5040000"/>
          </a:xfrm>
        </p:grpSpPr>
        <p:sp>
          <p:nvSpPr>
            <p:cNvPr id="24" name="円/楕円 23"/>
            <p:cNvSpPr/>
            <p:nvPr userDrawn="1"/>
          </p:nvSpPr>
          <p:spPr>
            <a:xfrm>
              <a:off x="6682240" y="2680152"/>
              <a:ext cx="5038725" cy="5038725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5" name="アーチ 24"/>
            <p:cNvSpPr/>
            <p:nvPr userDrawn="1"/>
          </p:nvSpPr>
          <p:spPr>
            <a:xfrm>
              <a:off x="6682240" y="2680152"/>
              <a:ext cx="5040000" cy="5040000"/>
            </a:xfrm>
            <a:prstGeom prst="blockArc">
              <a:avLst>
                <a:gd name="adj1" fmla="val 10800000"/>
                <a:gd name="adj2" fmla="val 3781764"/>
                <a:gd name="adj3" fmla="val 1346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26" name="グループ化 25"/>
          <p:cNvGrpSpPr>
            <a:grpSpLocks noChangeAspect="1"/>
          </p:cNvGrpSpPr>
          <p:nvPr userDrawn="1"/>
        </p:nvGrpSpPr>
        <p:grpSpPr>
          <a:xfrm rot="7511662">
            <a:off x="3935471" y="1133207"/>
            <a:ext cx="4320000" cy="4320375"/>
            <a:chOff x="6682240" y="2680152"/>
            <a:chExt cx="5040000" cy="5040000"/>
          </a:xfrm>
        </p:grpSpPr>
        <p:sp>
          <p:nvSpPr>
            <p:cNvPr id="27" name="円/楕円 26"/>
            <p:cNvSpPr/>
            <p:nvPr userDrawn="1"/>
          </p:nvSpPr>
          <p:spPr>
            <a:xfrm>
              <a:off x="6682240" y="2680152"/>
              <a:ext cx="5038725" cy="5038725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8" name="アーチ 27"/>
            <p:cNvSpPr/>
            <p:nvPr userDrawn="1"/>
          </p:nvSpPr>
          <p:spPr>
            <a:xfrm>
              <a:off x="6682240" y="2680152"/>
              <a:ext cx="5040000" cy="5040000"/>
            </a:xfrm>
            <a:prstGeom prst="blockArc">
              <a:avLst>
                <a:gd name="adj1" fmla="val 10800000"/>
                <a:gd name="adj2" fmla="val 3755127"/>
                <a:gd name="adj3" fmla="val 1245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グループ化 28"/>
          <p:cNvGrpSpPr>
            <a:grpSpLocks noChangeAspect="1"/>
          </p:cNvGrpSpPr>
          <p:nvPr userDrawn="1"/>
        </p:nvGrpSpPr>
        <p:grpSpPr>
          <a:xfrm rot="10993309">
            <a:off x="3815273" y="1013395"/>
            <a:ext cx="4560396" cy="4560000"/>
            <a:chOff x="6682240" y="2680152"/>
            <a:chExt cx="5040000" cy="5040000"/>
          </a:xfrm>
        </p:grpSpPr>
        <p:sp>
          <p:nvSpPr>
            <p:cNvPr id="30" name="円/楕円 29"/>
            <p:cNvSpPr/>
            <p:nvPr userDrawn="1"/>
          </p:nvSpPr>
          <p:spPr>
            <a:xfrm>
              <a:off x="6682240" y="2680152"/>
              <a:ext cx="5038725" cy="5038725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31" name="アーチ 30"/>
            <p:cNvSpPr/>
            <p:nvPr userDrawn="1"/>
          </p:nvSpPr>
          <p:spPr>
            <a:xfrm>
              <a:off x="6682240" y="2680152"/>
              <a:ext cx="5040000" cy="5040000"/>
            </a:xfrm>
            <a:prstGeom prst="blockArc">
              <a:avLst>
                <a:gd name="adj1" fmla="val 10800000"/>
                <a:gd name="adj2" fmla="val 3748913"/>
                <a:gd name="adj3" fmla="val 1106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200">
                <a:solidFill>
                  <a:schemeClr val="tx1"/>
                </a:solidFill>
              </a:endParaRPr>
            </a:p>
          </p:txBody>
        </p:sp>
      </p:grpSp>
      <p:sp>
        <p:nvSpPr>
          <p:cNvPr id="3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914400" y="2648572"/>
            <a:ext cx="10363200" cy="1057333"/>
          </a:xfrm>
        </p:spPr>
        <p:txBody>
          <a:bodyPr anchor="t">
            <a:noAutofit/>
          </a:bodyPr>
          <a:lstStyle>
            <a:lvl1pPr algn="ctr">
              <a:defRPr sz="6400" baseline="0">
                <a:solidFill>
                  <a:schemeClr val="accent1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YOUR TITLE GOES HERE</a:t>
            </a:r>
            <a:endParaRPr kumimoji="1" lang="ja-JP" altLang="en-US" dirty="0"/>
          </a:p>
        </p:txBody>
      </p:sp>
      <p:sp>
        <p:nvSpPr>
          <p:cNvPr id="33" name="テキスト プレースホルダー 8"/>
          <p:cNvSpPr>
            <a:spLocks noGrp="1"/>
          </p:cNvSpPr>
          <p:nvPr>
            <p:ph type="body" sz="quarter" idx="10" hasCustomPrompt="1"/>
          </p:nvPr>
        </p:nvSpPr>
        <p:spPr>
          <a:xfrm>
            <a:off x="910974" y="3669060"/>
            <a:ext cx="10370052" cy="576031"/>
          </a:xfrm>
        </p:spPr>
        <p:txBody>
          <a:bodyPr anchor="b">
            <a:noAutofit/>
          </a:bodyPr>
          <a:lstStyle>
            <a:lvl1pPr algn="ctr">
              <a:defRPr sz="2667">
                <a:solidFill>
                  <a:schemeClr val="tx2"/>
                </a:solidFill>
                <a:latin typeface="Route 159 UltraLight" pitchFamily="50" charset="0"/>
              </a:defRPr>
            </a:lvl1pPr>
          </a:lstStyle>
          <a:p>
            <a:pPr lvl="0"/>
            <a:r>
              <a:rPr kumimoji="1" lang="en-US" altLang="ja-JP" dirty="0"/>
              <a:t>Subtitle goes here</a:t>
            </a:r>
            <a:endParaRPr kumimoji="1" lang="ja-JP" altLang="en-US" dirty="0"/>
          </a:p>
        </p:txBody>
      </p:sp>
      <p:sp>
        <p:nvSpPr>
          <p:cNvPr id="34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910974" y="5685251"/>
            <a:ext cx="10370052" cy="1008112"/>
          </a:xfrm>
        </p:spPr>
        <p:txBody>
          <a:bodyPr>
            <a:normAutofit/>
          </a:bodyPr>
          <a:lstStyle>
            <a:lvl1pPr marL="0" indent="0" algn="ctr">
              <a:buNone/>
              <a:defRPr sz="1333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  <a:lvl2pPr marL="544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en-US" altLang="ja-JP" dirty="0"/>
              <a:t>Information</a:t>
            </a:r>
            <a:endParaRPr kumimoji="1" lang="ja-JP" altLang="en-US" dirty="0"/>
          </a:p>
        </p:txBody>
      </p:sp>
      <p:grpSp>
        <p:nvGrpSpPr>
          <p:cNvPr id="35" name="グループ化 34"/>
          <p:cNvGrpSpPr/>
          <p:nvPr userDrawn="1"/>
        </p:nvGrpSpPr>
        <p:grpSpPr>
          <a:xfrm>
            <a:off x="5730640" y="5397219"/>
            <a:ext cx="725488" cy="125685"/>
            <a:chOff x="8595214" y="6592642"/>
            <a:chExt cx="1088138" cy="188527"/>
          </a:xfrm>
        </p:grpSpPr>
        <p:sp>
          <p:nvSpPr>
            <p:cNvPr id="36" name="円/楕円 35"/>
            <p:cNvSpPr/>
            <p:nvPr userDrawn="1"/>
          </p:nvSpPr>
          <p:spPr>
            <a:xfrm>
              <a:off x="9048943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37" name="円/楕円 36"/>
            <p:cNvSpPr/>
            <p:nvPr userDrawn="1"/>
          </p:nvSpPr>
          <p:spPr>
            <a:xfrm>
              <a:off x="8595214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38" name="円/楕円 37"/>
            <p:cNvSpPr/>
            <p:nvPr userDrawn="1"/>
          </p:nvSpPr>
          <p:spPr>
            <a:xfrm>
              <a:off x="9494825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</p:grpSp>
      <p:sp>
        <p:nvSpPr>
          <p:cNvPr id="39" name="円/楕円 38"/>
          <p:cNvSpPr/>
          <p:nvPr userDrawn="1"/>
        </p:nvSpPr>
        <p:spPr>
          <a:xfrm>
            <a:off x="4693247" y="1661411"/>
            <a:ext cx="576114" cy="5760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40" name="円/楕円 39"/>
          <p:cNvSpPr/>
          <p:nvPr userDrawn="1"/>
        </p:nvSpPr>
        <p:spPr>
          <a:xfrm>
            <a:off x="5436378" y="1661411"/>
            <a:ext cx="576114" cy="57606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41" name="円/楕円 40"/>
          <p:cNvSpPr/>
          <p:nvPr userDrawn="1"/>
        </p:nvSpPr>
        <p:spPr>
          <a:xfrm>
            <a:off x="6179508" y="1661411"/>
            <a:ext cx="576114" cy="576064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sp>
        <p:nvSpPr>
          <p:cNvPr id="42" name="円/楕円 41"/>
          <p:cNvSpPr/>
          <p:nvPr userDrawn="1"/>
        </p:nvSpPr>
        <p:spPr>
          <a:xfrm>
            <a:off x="6922638" y="1661411"/>
            <a:ext cx="576114" cy="57606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</p:spTree>
    <p:extLst>
      <p:ext uri="{BB962C8B-B14F-4D97-AF65-F5344CB8AC3E}">
        <p14:creationId xmlns:p14="http://schemas.microsoft.com/office/powerpoint/2010/main" val="4107321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9" ac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9" ac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ac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9" ac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ac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2" presetClass="entr" presetSubtype="4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12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3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6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2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4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1" presetClass="entr" presetSubtype="1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1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1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3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1" presetClass="entr" presetSubtype="1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6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9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9" presetClass="entr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9" presetClass="entr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49" presetClass="entr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49" presetClass="entr" presetSubtype="0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49" presetClass="entr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49" presetClass="entr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45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75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75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45" presetClass="exit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2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3" dur="75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75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45" presetClass="exit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8" dur="75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75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45" presetClass="exit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2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3" dur="75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75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45" presetClass="exit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75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75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45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3" dur="75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75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8" dur="75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9" dur="75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2" presetClass="entr" presetSubtype="8" decel="100000" fill="hold" grpId="0" nodeType="withEffect">
                                  <p:stCondLst>
                                    <p:cond delay="1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4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6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7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8" presetID="2" presetClass="entr" presetSubtype="1" decel="10000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0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1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2" presetID="2" presetClass="entr" presetSubtype="1" decel="10000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4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5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6" presetID="2" presetClass="entr" presetSubtype="1" decel="10000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8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0" presetID="45" presetClass="entr" presetSubtype="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3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5" presetID="45" presetClass="entr" presetSubtype="0" fill="hold" grpId="1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7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8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0" presetID="45" presetClass="entr" presetSubtype="0" fill="hold" grpId="1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3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45" presetClass="entr" presetSubtype="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8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4300"/>
                            </p:stCondLst>
                            <p:childTnLst>
                              <p:par>
                                <p:cTn id="19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>
                            <p:stCondLst>
                              <p:cond delay="5300"/>
                            </p:stCondLst>
                            <p:childTnLst>
                              <p:par>
                                <p:cTn id="19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32" grpId="0"/>
      <p:bldP spid="3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150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281518"/>
            <a:ext cx="11573197" cy="840230"/>
          </a:xfrm>
          <a:prstGeom prst="rect">
            <a:avLst/>
          </a:prstGeom>
          <a:noFill/>
          <a:effectLst/>
        </p:spPr>
        <p:txBody>
          <a:bodyPr wrap="square" rtlCol="0" anchor="ctr">
            <a:spAutoFit/>
          </a:bodyPr>
          <a:lstStyle>
            <a:lvl1pPr marL="0" indent="0" algn="ctr">
              <a:buFontTx/>
              <a:buNone/>
              <a:defRPr lang="en-US" altLang="ko-KR" sz="5400" dirty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marL="0"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41905216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D0C51D7-0483-47AF-9772-3E3072F4EB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73119" y="1727200"/>
            <a:ext cx="3444711" cy="5130800"/>
          </a:xfrm>
          <a:custGeom>
            <a:avLst/>
            <a:gdLst>
              <a:gd name="connsiteX0" fmla="*/ 0 w 3444711"/>
              <a:gd name="connsiteY0" fmla="*/ 0 h 5130800"/>
              <a:gd name="connsiteX1" fmla="*/ 3444711 w 3444711"/>
              <a:gd name="connsiteY1" fmla="*/ 0 h 5130800"/>
              <a:gd name="connsiteX2" fmla="*/ 3444711 w 3444711"/>
              <a:gd name="connsiteY2" fmla="*/ 5130800 h 5130800"/>
              <a:gd name="connsiteX3" fmla="*/ 0 w 3444711"/>
              <a:gd name="connsiteY3" fmla="*/ 5130800 h 513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4711" h="5130800">
                <a:moveTo>
                  <a:pt x="0" y="0"/>
                </a:moveTo>
                <a:lnTo>
                  <a:pt x="3444711" y="0"/>
                </a:lnTo>
                <a:lnTo>
                  <a:pt x="3444711" y="5130800"/>
                </a:lnTo>
                <a:lnTo>
                  <a:pt x="0" y="51308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96630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>
            <a:extLst>
              <a:ext uri="{FF2B5EF4-FFF2-40B4-BE49-F238E27FC236}">
                <a16:creationId xmlns:a16="http://schemas.microsoft.com/office/drawing/2014/main" id="{1DD8A30A-BE5E-44F9-A57E-B5ECBC175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81E32-7494-4D6D-A8E1-CEAA069C7644}" type="datetimeFigureOut">
              <a:rPr lang="zh-TW" altLang="en-US" smtClean="0"/>
              <a:t>2021/12/24</a:t>
            </a:fld>
            <a:endParaRPr lang="zh-TW" altLang="en-US"/>
          </a:p>
        </p:txBody>
      </p:sp>
      <p:sp>
        <p:nvSpPr>
          <p:cNvPr id="3" name="頁尾版面配置區 2">
            <a:extLst>
              <a:ext uri="{FF2B5EF4-FFF2-40B4-BE49-F238E27FC236}">
                <a16:creationId xmlns:a16="http://schemas.microsoft.com/office/drawing/2014/main" id="{321E56E3-727C-44BF-9252-098BC0687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C0AFC0B0-E590-425F-AC84-66EEC5AB0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DEE82-EBA7-4CB1-A931-AEAC4B573841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132964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子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1340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38017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3260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個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98970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2780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48252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96BAFE-4D11-4261-BA5E-985C75D6195D}" type="slidenum">
              <a:rPr lang="zh-TW" altLang="en-US" smtClean="0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661330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914400" y="2648572"/>
            <a:ext cx="10363200" cy="1057333"/>
          </a:xfrm>
        </p:spPr>
        <p:txBody>
          <a:bodyPr anchor="t">
            <a:noAutofit/>
          </a:bodyPr>
          <a:lstStyle>
            <a:lvl1pPr algn="ctr">
              <a:defRPr sz="6400" baseline="0">
                <a:solidFill>
                  <a:schemeClr val="accent3"/>
                </a:solidFill>
                <a:latin typeface="Route 159 UltraLight" pitchFamily="50" charset="0"/>
              </a:defRPr>
            </a:lvl1pPr>
          </a:lstStyle>
          <a:p>
            <a:r>
              <a:rPr kumimoji="1" lang="en-US" altLang="ja-JP" dirty="0"/>
              <a:t>TEXT GOES HERE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910974" y="4741334"/>
            <a:ext cx="10370052" cy="1952029"/>
          </a:xfrm>
        </p:spPr>
        <p:txBody>
          <a:bodyPr anchor="b">
            <a:normAutofit/>
          </a:bodyPr>
          <a:lstStyle>
            <a:lvl1pPr marL="0" indent="0" algn="ctr">
              <a:buNone/>
              <a:defRPr sz="1333">
                <a:solidFill>
                  <a:schemeClr val="tx1">
                    <a:tint val="75000"/>
                  </a:schemeClr>
                </a:solidFill>
                <a:latin typeface="Open Sans Light" panose="020B0306030504020204" pitchFamily="34" charset="0"/>
                <a:cs typeface="Open Sans Light" panose="020B0306030504020204" pitchFamily="34" charset="0"/>
              </a:defRPr>
            </a:lvl1pPr>
            <a:lvl2pPr marL="544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7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en-US" altLang="ja-JP" dirty="0"/>
              <a:t>Information</a:t>
            </a:r>
            <a:endParaRPr kumimoji="1" lang="ja-JP" altLang="en-US" dirty="0"/>
          </a:p>
        </p:txBody>
      </p:sp>
      <p:sp>
        <p:nvSpPr>
          <p:cNvPr id="9" name="テキスト プレースホルダー 8"/>
          <p:cNvSpPr>
            <a:spLocks noGrp="1"/>
          </p:cNvSpPr>
          <p:nvPr>
            <p:ph type="body" sz="quarter" idx="10" hasCustomPrompt="1"/>
          </p:nvPr>
        </p:nvSpPr>
        <p:spPr>
          <a:xfrm>
            <a:off x="910974" y="3669060"/>
            <a:ext cx="10370052" cy="576031"/>
          </a:xfrm>
        </p:spPr>
        <p:txBody>
          <a:bodyPr anchor="b">
            <a:noAutofit/>
          </a:bodyPr>
          <a:lstStyle>
            <a:lvl1pPr algn="ctr">
              <a:defRPr sz="2667">
                <a:solidFill>
                  <a:schemeClr val="tx2"/>
                </a:solidFill>
                <a:latin typeface="Route 159 UltraLight" pitchFamily="50" charset="0"/>
              </a:defRPr>
            </a:lvl1pPr>
          </a:lstStyle>
          <a:p>
            <a:pPr lvl="0"/>
            <a:r>
              <a:rPr kumimoji="1" lang="en-US" altLang="ja-JP" dirty="0"/>
              <a:t>Subtitle goes here</a:t>
            </a:r>
            <a:endParaRPr kumimoji="1" lang="ja-JP" altLang="en-US" dirty="0"/>
          </a:p>
        </p:txBody>
      </p:sp>
      <p:grpSp>
        <p:nvGrpSpPr>
          <p:cNvPr id="6" name="グループ化 5"/>
          <p:cNvGrpSpPr/>
          <p:nvPr userDrawn="1"/>
        </p:nvGrpSpPr>
        <p:grpSpPr>
          <a:xfrm>
            <a:off x="5730640" y="4429600"/>
            <a:ext cx="725488" cy="125685"/>
            <a:chOff x="8595214" y="6592642"/>
            <a:chExt cx="1088138" cy="188527"/>
          </a:xfrm>
        </p:grpSpPr>
        <p:sp>
          <p:nvSpPr>
            <p:cNvPr id="24" name="円/楕円 23"/>
            <p:cNvSpPr/>
            <p:nvPr userDrawn="1"/>
          </p:nvSpPr>
          <p:spPr>
            <a:xfrm>
              <a:off x="9048943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5" name="円/楕円 24"/>
            <p:cNvSpPr/>
            <p:nvPr userDrawn="1"/>
          </p:nvSpPr>
          <p:spPr>
            <a:xfrm>
              <a:off x="8595214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  <p:sp>
          <p:nvSpPr>
            <p:cNvPr id="26" name="円/楕円 25"/>
            <p:cNvSpPr/>
            <p:nvPr userDrawn="1"/>
          </p:nvSpPr>
          <p:spPr>
            <a:xfrm>
              <a:off x="9494825" y="6592642"/>
              <a:ext cx="188527" cy="18852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</p:grpSp>
    </p:spTree>
    <p:extLst>
      <p:ext uri="{BB962C8B-B14F-4D97-AF65-F5344CB8AC3E}">
        <p14:creationId xmlns:p14="http://schemas.microsoft.com/office/powerpoint/2010/main" val="4181153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9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9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輔助字幕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37976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輔助字幕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TW" altLang="en-US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64926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23874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6940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縮小內容規模大型影像">
  <p:cSld name="縮小內容規模大型影像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1"/>
          <p:cNvSpPr>
            <a:spLocks noGrp="1"/>
          </p:cNvSpPr>
          <p:nvPr>
            <p:ph type="pic" idx="2"/>
          </p:nvPr>
        </p:nvSpPr>
        <p:spPr>
          <a:xfrm>
            <a:off x="5181599" y="0"/>
            <a:ext cx="70104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25" name="Google Shape;25;p21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21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1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" name="Google Shape;30;p21"/>
          <p:cNvSpPr txBox="1">
            <a:spLocks noGrp="1"/>
          </p:cNvSpPr>
          <p:nvPr>
            <p:ph type="body" idx="1"/>
          </p:nvPr>
        </p:nvSpPr>
        <p:spPr>
          <a:xfrm>
            <a:off x="581194" y="2720636"/>
            <a:ext cx="3863216" cy="3634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22072" algn="l">
              <a:spcBef>
                <a:spcPts val="320"/>
              </a:spcBef>
              <a:spcAft>
                <a:spcPts val="0"/>
              </a:spcAft>
              <a:buSzPts val="1472"/>
              <a:buChar char="◼"/>
              <a:defRPr sz="1600">
                <a:latin typeface="Arial"/>
                <a:ea typeface="Arial"/>
                <a:cs typeface="Arial"/>
                <a:sym typeface="Arial"/>
              </a:defRPr>
            </a:lvl1pPr>
            <a:lvl2pPr marL="914400" lvl="1" indent="-310387" algn="l">
              <a:spcBef>
                <a:spcPts val="600"/>
              </a:spcBef>
              <a:spcAft>
                <a:spcPts val="0"/>
              </a:spcAft>
              <a:buSzPts val="1288"/>
              <a:buChar char="◼"/>
              <a:defRPr sz="1400">
                <a:latin typeface="Arial"/>
                <a:ea typeface="Arial"/>
                <a:cs typeface="Arial"/>
                <a:sym typeface="Arial"/>
              </a:defRPr>
            </a:lvl2pPr>
            <a:lvl3pPr marL="1371600" lvl="2" indent="-298703" algn="l">
              <a:spcBef>
                <a:spcPts val="600"/>
              </a:spcBef>
              <a:spcAft>
                <a:spcPts val="0"/>
              </a:spcAft>
              <a:buSzPts val="1104"/>
              <a:buChar char="◼"/>
              <a:defRPr sz="12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92861" algn="l">
              <a:spcBef>
                <a:spcPts val="600"/>
              </a:spcBef>
              <a:spcAft>
                <a:spcPts val="0"/>
              </a:spcAft>
              <a:buSzPts val="1012"/>
              <a:buChar char="◼"/>
              <a:defRPr sz="1100">
                <a:latin typeface="Arial"/>
                <a:ea typeface="Arial"/>
                <a:cs typeface="Arial"/>
                <a:sym typeface="Arial"/>
              </a:defRPr>
            </a:lvl4pPr>
            <a:lvl5pPr marL="2286000" lvl="4" indent="-292861" algn="l">
              <a:spcBef>
                <a:spcPts val="600"/>
              </a:spcBef>
              <a:spcAft>
                <a:spcPts val="0"/>
              </a:spcAft>
              <a:buSzPts val="1012"/>
              <a:buChar char="◼"/>
              <a:defRPr sz="11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6pPr>
            <a:lvl7pPr marL="3200400" lvl="6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7pPr>
            <a:lvl8pPr marL="3657600" lvl="7" indent="-333756" algn="l">
              <a:spcBef>
                <a:spcPts val="600"/>
              </a:spcBef>
              <a:spcAft>
                <a:spcPts val="0"/>
              </a:spcAft>
              <a:buSzPts val="1656"/>
              <a:buChar char="◼"/>
              <a:defRPr/>
            </a:lvl8pPr>
            <a:lvl9pPr marL="4114800" lvl="8" indent="-333756" algn="l">
              <a:spcBef>
                <a:spcPts val="600"/>
              </a:spcBef>
              <a:spcAft>
                <a:spcPts val="600"/>
              </a:spcAft>
              <a:buSzPts val="1656"/>
              <a:buChar char="◼"/>
              <a:defRPr/>
            </a:lvl9pPr>
          </a:lstStyle>
          <a:p>
            <a:endParaRPr/>
          </a:p>
        </p:txBody>
      </p:sp>
      <p:sp>
        <p:nvSpPr>
          <p:cNvPr id="31" name="Google Shape;31;p21"/>
          <p:cNvSpPr txBox="1">
            <a:spLocks noGrp="1"/>
          </p:cNvSpPr>
          <p:nvPr>
            <p:ph type="title"/>
          </p:nvPr>
        </p:nvSpPr>
        <p:spPr>
          <a:xfrm>
            <a:off x="581192" y="1304660"/>
            <a:ext cx="3863216" cy="1415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3400"/>
              <a:buFont typeface="Arial"/>
              <a:buNone/>
              <a:defRPr sz="340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1944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1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80.xml"/><Relationship Id="rId9" Type="http://schemas.openxmlformats.org/officeDocument/2006/relationships/tags" Target="../tags/tag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物件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75825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10" imgW="480" imgH="479" progId="TCLayout.ActiveDocument.1">
                  <p:embed/>
                </p:oleObj>
              </mc:Choice>
              <mc:Fallback>
                <p:oleObj name="think-cell Slide" r:id="rId10" imgW="480" imgH="479" progId="TCLayout.ActiveDocument.1">
                  <p:embed/>
                  <p:pic>
                    <p:nvPicPr>
                      <p:cNvPr id="8" name="物件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>
            <a:extLst>
              <a:ext uri="{FF2B5EF4-FFF2-40B4-BE49-F238E27FC236}">
                <a16:creationId xmlns:a16="http://schemas.microsoft.com/office/drawing/2014/main" id="{A0B8A115-96EA-4326-ACCA-D7B2627B9BF5}"/>
              </a:ext>
            </a:extLst>
          </p:cNvPr>
          <p:cNvSpPr/>
          <p:nvPr userDrawn="1"/>
        </p:nvSpPr>
        <p:spPr>
          <a:xfrm rot="16200000">
            <a:off x="6039730" y="692542"/>
            <a:ext cx="108000" cy="1219654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4F81B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5603849" y="974693"/>
            <a:ext cx="108000" cy="11315698"/>
          </a:xfrm>
          <a:prstGeom prst="rect">
            <a:avLst/>
          </a:prstGeom>
          <a:solidFill>
            <a:srgbClr val="FF0100"/>
          </a:solidFill>
          <a:ln>
            <a:solidFill>
              <a:srgbClr val="FF01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911" r:id="rId4"/>
    <p:sldLayoutId id="2147483657" r:id="rId5"/>
    <p:sldLayoutId id="2147483663" r:id="rId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2917" y="164638"/>
            <a:ext cx="10959484" cy="802101"/>
          </a:xfrm>
          <a:prstGeom prst="rect">
            <a:avLst/>
          </a:prstGeom>
        </p:spPr>
        <p:txBody>
          <a:bodyPr vert="horz" lIns="163275" tIns="81638" rIns="163275" bIns="81638" rtlCol="0" anchor="ctr">
            <a:normAutofit/>
          </a:bodyPr>
          <a:lstStyle/>
          <a:p>
            <a:r>
              <a:rPr kumimoji="1" lang="en-US" altLang="ja-JP" dirty="0"/>
              <a:t>Master Title</a:t>
            </a:r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163275" tIns="81638" rIns="163275" bIns="81638" rtlCol="0">
            <a:normAutofit/>
          </a:bodyPr>
          <a:lstStyle/>
          <a:p>
            <a:pPr lvl="0"/>
            <a:r>
              <a:rPr kumimoji="1" lang="en-US" altLang="ja-JP" dirty="0"/>
              <a:t>MASTER TEX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67935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6" r:id="rId25"/>
    <p:sldLayoutId id="2147483697" r:id="rId26"/>
    <p:sldLayoutId id="2147483698" r:id="rId27"/>
  </p:sldLayoutIdLst>
  <p:hf hdr="0" ftr="0" dt="0"/>
  <p:txStyles>
    <p:titleStyle>
      <a:lvl1pPr algn="l" defTabSz="1088556" rtl="0" eaLnBrk="1" latinLnBrk="0" hangingPunct="1">
        <a:spcBef>
          <a:spcPct val="0"/>
        </a:spcBef>
        <a:buNone/>
        <a:defRPr kumimoji="1" sz="4000" kern="120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1088556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None/>
        <a:defRPr kumimoji="1" sz="16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884452" indent="-340174" algn="l" defTabSz="1088556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3334" kern="1200">
          <a:solidFill>
            <a:schemeClr val="tx1"/>
          </a:solidFill>
          <a:latin typeface="+mn-lt"/>
          <a:ea typeface="+mn-ea"/>
          <a:cs typeface="+mn-cs"/>
        </a:defRPr>
      </a:lvl2pPr>
      <a:lvl3pPr marL="1360695" indent="-272139" algn="l" defTabSz="1088556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867" kern="1200">
          <a:solidFill>
            <a:schemeClr val="tx1"/>
          </a:solidFill>
          <a:latin typeface="+mn-lt"/>
          <a:ea typeface="+mn-ea"/>
          <a:cs typeface="+mn-cs"/>
        </a:defRPr>
      </a:lvl3pPr>
      <a:lvl4pPr marL="1904973" indent="-272139" algn="l" defTabSz="1088556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49251" indent="-272139" algn="l" defTabSz="1088556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993530" indent="-272139" algn="l" defTabSz="1088556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808" indent="-272139" algn="l" defTabSz="1088556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085" indent="-272139" algn="l" defTabSz="1088556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6364" indent="-272139" algn="l" defTabSz="1088556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78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556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834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7112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391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669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946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4225" algn="l" defTabSz="1088556" rtl="0" eaLnBrk="1" latinLnBrk="0" hangingPunct="1">
        <a:defRPr kumimoji="1"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9"/>
          <p:cNvSpPr txBox="1"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11;p19"/>
          <p:cNvSpPr txBox="1">
            <a:spLocks noGrp="1"/>
          </p:cNvSpPr>
          <p:nvPr>
            <p:ph type="body" idx="1"/>
          </p:nvPr>
        </p:nvSpPr>
        <p:spPr>
          <a:xfrm>
            <a:off x="581192" y="2336002"/>
            <a:ext cx="11029616" cy="3652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marR="0" lvl="0" indent="-333756" algn="l" rtl="0">
              <a:spcBef>
                <a:spcPts val="360"/>
              </a:spcBef>
              <a:spcAft>
                <a:spcPts val="0"/>
              </a:spcAft>
              <a:buClr>
                <a:schemeClr val="accent1"/>
              </a:buClr>
              <a:buSzPts val="1656"/>
              <a:buFont typeface="Noto Sans Symbols"/>
              <a:buChar char="◼"/>
              <a:defRPr sz="18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22072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472"/>
              <a:buFont typeface="Noto Sans Symbols"/>
              <a:buChar char="◼"/>
              <a:defRPr sz="16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0388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288"/>
              <a:buFont typeface="Noto Sans Symbols"/>
              <a:buChar char="◼"/>
              <a:defRPr sz="14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703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704" algn="l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704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L="3200400" marR="0" lvl="6" indent="-298704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L="3657600" marR="0" lvl="7" indent="-298703" algn="l" rtl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L="4114800" marR="0" lvl="8" indent="-298703" algn="l" rtl="0"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ts val="1104"/>
              <a:buFont typeface="Noto Sans Symbols"/>
              <a:buChar char="◼"/>
              <a:defRPr sz="1200" b="0" i="0" u="none" strike="noStrike" cap="none">
                <a:solidFill>
                  <a:schemeClr val="dk2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12" name="Google Shape;12;p19"/>
          <p:cNvSpPr txBox="1">
            <a:spLocks noGrp="1"/>
          </p:cNvSpPr>
          <p:nvPr>
            <p:ph type="dt" idx="10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13" name="Google Shape;13;p19"/>
          <p:cNvSpPr txBox="1">
            <a:spLocks noGrp="1"/>
          </p:cNvSpPr>
          <p:nvPr>
            <p:ph type="ftr" idx="11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  <p:sp>
        <p:nvSpPr>
          <p:cNvPr id="14" name="Google Shape;14;p19"/>
          <p:cNvSpPr txBox="1">
            <a:spLocks noGrp="1"/>
          </p:cNvSpPr>
          <p:nvPr>
            <p:ph type="sldNum" idx="12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196547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>
            <a:extLst>
              <a:ext uri="{FF2B5EF4-FFF2-40B4-BE49-F238E27FC236}">
                <a16:creationId xmlns:a16="http://schemas.microsoft.com/office/drawing/2014/main" id="{0800C792-A978-45EA-80D8-9DEE8F64C7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8B24A8FF-12AE-474B-A2ED-00815E04A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4914E832-2EBD-4812-9578-7D164CC36D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6B3D3707-0585-4BFD-8A11-5D847F6FFB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1EAA98ED-EB90-4AAC-AAB1-69B5ED63E8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1D276-8F64-497C-BC46-60B62A98F769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02311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82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>
            <a:extLst>
              <a:ext uri="{FF2B5EF4-FFF2-40B4-BE49-F238E27FC236}">
                <a16:creationId xmlns:a16="http://schemas.microsoft.com/office/drawing/2014/main" id="{57767A86-7B95-40D4-9B27-583D6665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</a:p>
        </p:txBody>
      </p:sp>
      <p:sp>
        <p:nvSpPr>
          <p:cNvPr id="3" name="文字版面配置區 2">
            <a:extLst>
              <a:ext uri="{FF2B5EF4-FFF2-40B4-BE49-F238E27FC236}">
                <a16:creationId xmlns:a16="http://schemas.microsoft.com/office/drawing/2014/main" id="{153BF8A8-D1F9-46F6-A764-7653FD0FDF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4" name="日期版面配置區 3">
            <a:extLst>
              <a:ext uri="{FF2B5EF4-FFF2-40B4-BE49-F238E27FC236}">
                <a16:creationId xmlns:a16="http://schemas.microsoft.com/office/drawing/2014/main" id="{E248B7C4-685D-45A1-A599-AE5EC6F9C1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5" name="頁尾版面配置區 4">
            <a:extLst>
              <a:ext uri="{FF2B5EF4-FFF2-40B4-BE49-F238E27FC236}">
                <a16:creationId xmlns:a16="http://schemas.microsoft.com/office/drawing/2014/main" id="{2D6E1D72-75BA-4DFB-A1C4-C47A24F27E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6" name="投影片編號版面配置區 5">
            <a:extLst>
              <a:ext uri="{FF2B5EF4-FFF2-40B4-BE49-F238E27FC236}">
                <a16:creationId xmlns:a16="http://schemas.microsoft.com/office/drawing/2014/main" id="{E07C0CBC-CA28-4D3B-AC36-288A14C6E6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46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物件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81778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10" imgW="480" imgH="479" progId="TCLayout.ActiveDocument.1">
                  <p:embed/>
                </p:oleObj>
              </mc:Choice>
              <mc:Fallback>
                <p:oleObj name="think-cell Slide" r:id="rId10" imgW="480" imgH="479" progId="TCLayout.ActiveDocument.1">
                  <p:embed/>
                  <p:pic>
                    <p:nvPicPr>
                      <p:cNvPr id="8" name="物件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>
            <a:extLst>
              <a:ext uri="{FF2B5EF4-FFF2-40B4-BE49-F238E27FC236}">
                <a16:creationId xmlns:a16="http://schemas.microsoft.com/office/drawing/2014/main" id="{A0B8A115-96EA-4326-ACCA-D7B2627B9BF5}"/>
              </a:ext>
            </a:extLst>
          </p:cNvPr>
          <p:cNvSpPr/>
          <p:nvPr userDrawn="1"/>
        </p:nvSpPr>
        <p:spPr>
          <a:xfrm rot="16200000">
            <a:off x="6039730" y="692542"/>
            <a:ext cx="108000" cy="1219654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4F81B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5603849" y="974693"/>
            <a:ext cx="108000" cy="11315698"/>
          </a:xfrm>
          <a:prstGeom prst="rect">
            <a:avLst/>
          </a:prstGeom>
          <a:solidFill>
            <a:srgbClr val="FF0100"/>
          </a:solidFill>
          <a:ln>
            <a:solidFill>
              <a:srgbClr val="FF01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zh-TW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205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8" r:id="rId5"/>
    <p:sldLayoutId id="2147483919" r:id="rId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2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295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  <p:sldLayoutId id="214748395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1.xml"/><Relationship Id="rId5" Type="http://schemas.openxmlformats.org/officeDocument/2006/relationships/image" Target="../media/image38.png"/><Relationship Id="rId4" Type="http://schemas.openxmlformats.org/officeDocument/2006/relationships/hyperlink" Target="&#24433;&#29255;&#27284;/1080605_&#34217;&#30465;&#23459;&#20659;&#24433;&#29255;.mp4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tmp"/><Relationship Id="rId1" Type="http://schemas.openxmlformats.org/officeDocument/2006/relationships/slideLayout" Target="../slideLayouts/slideLayout5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tmp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6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tmp"/><Relationship Id="rId1" Type="http://schemas.openxmlformats.org/officeDocument/2006/relationships/slideLayout" Target="../slideLayouts/slideLayout5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tmp"/><Relationship Id="rId1" Type="http://schemas.openxmlformats.org/officeDocument/2006/relationships/slideLayout" Target="../slideLayouts/slideLayout5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tmp"/><Relationship Id="rId2" Type="http://schemas.openxmlformats.org/officeDocument/2006/relationships/image" Target="../media/image43.tmp"/><Relationship Id="rId1" Type="http://schemas.openxmlformats.org/officeDocument/2006/relationships/slideLayout" Target="../slideLayouts/slideLayout5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tmp"/><Relationship Id="rId1" Type="http://schemas.openxmlformats.org/officeDocument/2006/relationships/slideLayout" Target="../slideLayouts/slideLayout5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tmp"/><Relationship Id="rId1" Type="http://schemas.openxmlformats.org/officeDocument/2006/relationships/slideLayout" Target="../slideLayouts/slideLayout5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tmp"/><Relationship Id="rId1" Type="http://schemas.openxmlformats.org/officeDocument/2006/relationships/slideLayout" Target="../slideLayouts/slideLayout5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tmp"/><Relationship Id="rId1" Type="http://schemas.openxmlformats.org/officeDocument/2006/relationships/slideLayout" Target="../slideLayouts/slideLayout5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tmp"/><Relationship Id="rId1" Type="http://schemas.openxmlformats.org/officeDocument/2006/relationships/slideLayout" Target="../slideLayouts/slideLayout5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tmp"/><Relationship Id="rId2" Type="http://schemas.openxmlformats.org/officeDocument/2006/relationships/image" Target="../media/image52.tmp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tmp"/><Relationship Id="rId2" Type="http://schemas.openxmlformats.org/officeDocument/2006/relationships/image" Target="../media/image56.tmp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59.tmp"/><Relationship Id="rId4" Type="http://schemas.openxmlformats.org/officeDocument/2006/relationships/image" Target="../media/image58.tm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tmp"/><Relationship Id="rId2" Type="http://schemas.openxmlformats.org/officeDocument/2006/relationships/image" Target="../media/image60.tmp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7" Type="http://schemas.openxmlformats.org/officeDocument/2006/relationships/image" Target="../media/image68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jpg"/><Relationship Id="rId5" Type="http://schemas.openxmlformats.org/officeDocument/2006/relationships/image" Target="../media/image66.jpg"/><Relationship Id="rId4" Type="http://schemas.openxmlformats.org/officeDocument/2006/relationships/image" Target="../media/image65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1.jpg"/><Relationship Id="rId4" Type="http://schemas.openxmlformats.org/officeDocument/2006/relationships/image" Target="../media/image70.jp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3.jp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6.xml"/><Relationship Id="rId4" Type="http://schemas.microsoft.com/office/2007/relationships/hdphoto" Target="../media/hdphoto1.wdp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6.xml"/><Relationship Id="rId4" Type="http://schemas.microsoft.com/office/2007/relationships/hdphoto" Target="../media/hdphoto1.wdp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6.xml"/><Relationship Id="rId4" Type="http://schemas.microsoft.com/office/2007/relationships/hdphoto" Target="../media/hdphoto1.wdp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tmp"/><Relationship Id="rId3" Type="http://schemas.openxmlformats.org/officeDocument/2006/relationships/image" Target="../media/image75.tmp"/><Relationship Id="rId7" Type="http://schemas.openxmlformats.org/officeDocument/2006/relationships/image" Target="../media/image79.jpg"/><Relationship Id="rId2" Type="http://schemas.openxmlformats.org/officeDocument/2006/relationships/image" Target="../media/image74.tmp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78.jpg"/><Relationship Id="rId5" Type="http://schemas.openxmlformats.org/officeDocument/2006/relationships/image" Target="../media/image77.jpg"/><Relationship Id="rId4" Type="http://schemas.openxmlformats.org/officeDocument/2006/relationships/image" Target="../media/image76.jpg"/><Relationship Id="rId9" Type="http://schemas.openxmlformats.org/officeDocument/2006/relationships/image" Target="../media/image8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6.xml"/><Relationship Id="rId4" Type="http://schemas.microsoft.com/office/2007/relationships/hdphoto" Target="../media/hdphoto1.wdp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6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1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endParaRPr dirty="0"/>
          </a:p>
        </p:txBody>
      </p:sp>
      <p:sp>
        <p:nvSpPr>
          <p:cNvPr id="85" name="Google Shape;85;p1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</a:pPr>
            <a:endParaRPr/>
          </a:p>
        </p:txBody>
      </p:sp>
      <p:pic>
        <p:nvPicPr>
          <p:cNvPr id="86" name="Google Shape;86;p1" descr="一張含有 室外, 綠色, 標誌, 城市 的圖片&#10;&#10;自動產生的描述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561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7" name="Google Shape;87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200"/>
                <a:buFontTx/>
                <a:buNone/>
                <a:tabLst/>
                <a:defRPr/>
              </a:pPr>
              <a:t>1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9" name="Google Shape;89;p1"/>
          <p:cNvSpPr/>
          <p:nvPr/>
        </p:nvSpPr>
        <p:spPr>
          <a:xfrm>
            <a:off x="525162" y="560982"/>
            <a:ext cx="5334935" cy="5626645"/>
          </a:xfrm>
          <a:prstGeom prst="rect">
            <a:avLst/>
          </a:prstGeom>
          <a:solidFill>
            <a:srgbClr val="006633"/>
          </a:solidFill>
          <a:ln w="12700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" name="Google Shape;90;p1"/>
          <p:cNvSpPr txBox="1"/>
          <p:nvPr/>
        </p:nvSpPr>
        <p:spPr>
          <a:xfrm>
            <a:off x="1048454" y="2047080"/>
            <a:ext cx="4288353" cy="2554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0"/>
              <a:buFont typeface="Arial"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Arial"/>
                <a:sym typeface="Arial"/>
              </a:rPr>
              <a:t>臺加高中</a:t>
            </a:r>
            <a:endParaRPr kumimoji="0" sz="8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0"/>
              <a:buFont typeface="Arial"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Arial"/>
                <a:sym typeface="Arial"/>
              </a:rPr>
              <a:t>雙聯學制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Arial"/>
              <a:sym typeface="Arial"/>
            </a:endParaRPr>
          </a:p>
        </p:txBody>
      </p:sp>
      <p:cxnSp>
        <p:nvCxnSpPr>
          <p:cNvPr id="92" name="Google Shape;92;p1"/>
          <p:cNvCxnSpPr/>
          <p:nvPr/>
        </p:nvCxnSpPr>
        <p:spPr>
          <a:xfrm>
            <a:off x="1699774" y="1937897"/>
            <a:ext cx="3034911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93" name="Google Shape;93;p1"/>
          <p:cNvCxnSpPr/>
          <p:nvPr/>
        </p:nvCxnSpPr>
        <p:spPr>
          <a:xfrm>
            <a:off x="1699773" y="4681097"/>
            <a:ext cx="3034911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" name="Google Shape;94;p1"/>
          <p:cNvSpPr txBox="1"/>
          <p:nvPr/>
        </p:nvSpPr>
        <p:spPr>
          <a:xfrm>
            <a:off x="1341620" y="4937203"/>
            <a:ext cx="3751216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lang="zh-TW" altLang="en-US" sz="2000" b="1" dirty="0">
                <a:solidFill>
                  <a:srgbClr val="FFD44B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Arial"/>
              </a:rPr>
              <a:t>加拿大薩克齊萬省</a:t>
            </a:r>
            <a:r>
              <a:rPr lang="en-US" altLang="zh-TW" sz="2000" b="1" dirty="0">
                <a:solidFill>
                  <a:srgbClr val="FFD44B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Arial"/>
              </a:rPr>
              <a:t>GSCS</a:t>
            </a:r>
            <a:r>
              <a:rPr lang="zh-TW" altLang="en-US" sz="2000" b="1" dirty="0">
                <a:solidFill>
                  <a:srgbClr val="FFD44B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Arial"/>
              </a:rPr>
              <a:t>教育局</a:t>
            </a:r>
            <a:endParaRPr lang="en-US" altLang="zh-TW" sz="2000" b="1" dirty="0">
              <a:solidFill>
                <a:srgbClr val="FFD44B"/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endParaRPr lang="en-US" altLang="zh-TW" sz="2000" b="1" dirty="0">
              <a:solidFill>
                <a:srgbClr val="FFD44B"/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lang="zh-TW" altLang="en-US" sz="2000" b="1" dirty="0">
                <a:solidFill>
                  <a:srgbClr val="FFD44B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Arial"/>
              </a:rPr>
              <a:t>主講人</a:t>
            </a:r>
            <a:r>
              <a:rPr lang="en-US" altLang="zh-TW" sz="2000" b="1" dirty="0">
                <a:solidFill>
                  <a:srgbClr val="FFD44B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sym typeface="Arial"/>
              </a:rPr>
              <a:t>: Carol Chien</a:t>
            </a:r>
            <a:endParaRPr lang="zh-TW" altLang="en-US" sz="2000" b="1" dirty="0">
              <a:solidFill>
                <a:srgbClr val="FFD44B"/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Arial"/>
            </a:endParaRPr>
          </a:p>
        </p:txBody>
      </p:sp>
      <p:sp>
        <p:nvSpPr>
          <p:cNvPr id="18" name="文字方塊 17">
            <a:extLst>
              <a:ext uri="{FF2B5EF4-FFF2-40B4-BE49-F238E27FC236}">
                <a16:creationId xmlns:a16="http://schemas.microsoft.com/office/drawing/2014/main" id="{B15BE968-9966-4050-810C-95BC563779FA}"/>
              </a:ext>
            </a:extLst>
          </p:cNvPr>
          <p:cNvSpPr txBox="1"/>
          <p:nvPr/>
        </p:nvSpPr>
        <p:spPr>
          <a:xfrm>
            <a:off x="144061" y="1122745"/>
            <a:ext cx="609713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haroni" panose="02010803020104030203" pitchFamily="2" charset="-79"/>
                <a:ea typeface="新細明體" panose="02020500000000000000" pitchFamily="18" charset="-120"/>
                <a:cs typeface="Aharoni" panose="02010803020104030203" pitchFamily="2" charset="-79"/>
              </a:rPr>
              <a:t>CANADA</a:t>
            </a:r>
          </a:p>
        </p:txBody>
      </p:sp>
      <p:pic>
        <p:nvPicPr>
          <p:cNvPr id="14" name="Google Shape;88;p1" descr="一張含有 文字 的圖片&#10;&#10;自動產生的描述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720919" y="346075"/>
            <a:ext cx="3117069" cy="159182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圖片 14">
            <a:extLst>
              <a:ext uri="{FF2B5EF4-FFF2-40B4-BE49-F238E27FC236}">
                <a16:creationId xmlns:a16="http://schemas.microsoft.com/office/drawing/2014/main" id="{2B64A2F0-369B-4D3C-8913-4E3FF73AF8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2534" y="380366"/>
            <a:ext cx="1623076" cy="1615862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C9F2D186-F8BE-453D-9BF3-34BBF0F98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學生英語能力提升</a:t>
            </a:r>
          </a:p>
        </p:txBody>
      </p:sp>
      <p:sp>
        <p:nvSpPr>
          <p:cNvPr id="8" name="Google Shape;163;gdbcc9471ba_0_15">
            <a:extLst>
              <a:ext uri="{FF2B5EF4-FFF2-40B4-BE49-F238E27FC236}">
                <a16:creationId xmlns:a16="http://schemas.microsoft.com/office/drawing/2014/main" id="{886D00D9-9DEC-4C87-89E3-2E2518C278A6}"/>
              </a:ext>
            </a:extLst>
          </p:cNvPr>
          <p:cNvSpPr txBox="1"/>
          <p:nvPr/>
        </p:nvSpPr>
        <p:spPr>
          <a:xfrm>
            <a:off x="538763" y="4253200"/>
            <a:ext cx="9637404" cy="2308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JhengHei"/>
                <a:ea typeface="Microsoft JhengHei"/>
                <a:cs typeface="+mn-cs"/>
                <a:sym typeface="Microsoft JhengHei"/>
              </a:rPr>
              <a:t>國三升高一</a:t>
            </a:r>
            <a:endParaRPr kumimoji="0" lang="en-US" altLang="zh-TW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"/>
              <a:ea typeface="Microsoft JhengHei"/>
              <a:cs typeface="+mn-cs"/>
              <a:sym typeface="Microsoft JhengHe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會考英文A</a:t>
            </a:r>
            <a:endParaRPr kumimoji="0" sz="7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Google Shape;164;gdbcc9471ba_0_15">
            <a:extLst>
              <a:ext uri="{FF2B5EF4-FFF2-40B4-BE49-F238E27FC236}">
                <a16:creationId xmlns:a16="http://schemas.microsoft.com/office/drawing/2014/main" id="{D425E8E3-9F00-480D-82E1-7F853643F852}"/>
              </a:ext>
            </a:extLst>
          </p:cNvPr>
          <p:cNvSpPr txBox="1"/>
          <p:nvPr/>
        </p:nvSpPr>
        <p:spPr>
          <a:xfrm>
            <a:off x="4534766" y="1052945"/>
            <a:ext cx="7621454" cy="2723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高二升高三暑假目標</a:t>
            </a:r>
            <a:endParaRPr kumimoji="0" lang="en-US" altLang="zh-TW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"/>
              <a:ea typeface="Microsoft JhengHei"/>
              <a:cs typeface="Microsoft JhengHei"/>
              <a:sym typeface="Microsoft JhengHei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雅思IELTS</a:t>
            </a: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 6.0~6.5</a:t>
            </a:r>
            <a:endParaRPr kumimoji="0" sz="6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0" name="Google Shape;165;gdbcc9471ba_0_15">
            <a:extLst>
              <a:ext uri="{FF2B5EF4-FFF2-40B4-BE49-F238E27FC236}">
                <a16:creationId xmlns:a16="http://schemas.microsoft.com/office/drawing/2014/main" id="{C946F4F2-C425-458E-B8F6-044DC4BA8A98}"/>
              </a:ext>
            </a:extLst>
          </p:cNvPr>
          <p:cNvCxnSpPr>
            <a:cxnSpLocks/>
          </p:cNvCxnSpPr>
          <p:nvPr/>
        </p:nvCxnSpPr>
        <p:spPr>
          <a:xfrm flipV="1">
            <a:off x="5338123" y="3821168"/>
            <a:ext cx="1419733" cy="1634431"/>
          </a:xfrm>
          <a:prstGeom prst="straightConnector1">
            <a:avLst/>
          </a:prstGeom>
          <a:noFill/>
          <a:ln w="114300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11" name="矩形 10">
            <a:extLst>
              <a:ext uri="{FF2B5EF4-FFF2-40B4-BE49-F238E27FC236}">
                <a16:creationId xmlns:a16="http://schemas.microsoft.com/office/drawing/2014/main" id="{C080AF55-67F9-443D-BF8A-F9508429A4F3}"/>
              </a:ext>
            </a:extLst>
          </p:cNvPr>
          <p:cNvSpPr/>
          <p:nvPr/>
        </p:nvSpPr>
        <p:spPr>
          <a:xfrm>
            <a:off x="584654" y="1143785"/>
            <a:ext cx="3153222" cy="1871104"/>
          </a:xfrm>
          <a:prstGeom prst="rect">
            <a:avLst/>
          </a:prstGeom>
          <a:solidFill>
            <a:srgbClr val="C0CF3A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TW" altLang="en-US" sz="2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新細明體" panose="02020500000000000000" pitchFamily="18" charset="-120"/>
              <a:cs typeface="+mn-cs"/>
              <a:sym typeface="Arial"/>
            </a:endParaRPr>
          </a:p>
        </p:txBody>
      </p:sp>
      <p:sp>
        <p:nvSpPr>
          <p:cNvPr id="12" name="文字方塊 9">
            <a:extLst>
              <a:ext uri="{FF2B5EF4-FFF2-40B4-BE49-F238E27FC236}">
                <a16:creationId xmlns:a16="http://schemas.microsoft.com/office/drawing/2014/main" id="{404C3014-A3D8-4563-8BB4-F1F3EA9318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3710" y="2104598"/>
            <a:ext cx="240482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英語能力目標</a:t>
            </a:r>
            <a:endParaRPr kumimoji="0" lang="en-US" altLang="zh-TW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雅思</a:t>
            </a:r>
            <a:r>
              <a:rPr kumimoji="0" lang="en-US" altLang="zh-TW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6.5</a:t>
            </a:r>
          </a:p>
        </p:txBody>
      </p:sp>
      <p:sp>
        <p:nvSpPr>
          <p:cNvPr id="13" name="文字方塊 26">
            <a:extLst>
              <a:ext uri="{FF2B5EF4-FFF2-40B4-BE49-F238E27FC236}">
                <a16:creationId xmlns:a16="http://schemas.microsoft.com/office/drawing/2014/main" id="{610FABBD-C7B1-4E18-8FDD-90FBE27385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8277" y="1095821"/>
            <a:ext cx="141435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TW" sz="4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新細明體" panose="02020500000000000000" pitchFamily="18" charset="-120"/>
                <a:cs typeface="Arial"/>
                <a:sym typeface="Arial"/>
              </a:rPr>
              <a:t>IELTS</a:t>
            </a:r>
            <a:endParaRPr kumimoji="0" lang="zh-TW" altLang="en-US" sz="4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新細明體" panose="02020500000000000000" pitchFamily="18" charset="-12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9453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479C9323-D973-4545-A913-2BC1DC5603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BEAF0D-ACDA-499F-B88A-7F2F36AEB7CF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pic>
        <p:nvPicPr>
          <p:cNvPr id="36867" name="圖片 4" descr="一張含有 桌 的圖片&#10;&#10;自動產生的描述">
            <a:extLst>
              <a:ext uri="{FF2B5EF4-FFF2-40B4-BE49-F238E27FC236}">
                <a16:creationId xmlns:a16="http://schemas.microsoft.com/office/drawing/2014/main" id="{4E126F0D-5FED-49EE-B415-1837347AC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63" y="236538"/>
            <a:ext cx="10831512" cy="6434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矩形 5">
            <a:extLst>
              <a:ext uri="{FF2B5EF4-FFF2-40B4-BE49-F238E27FC236}">
                <a16:creationId xmlns:a16="http://schemas.microsoft.com/office/drawing/2014/main" id="{1E16C642-E864-44FE-88AD-92E2E34784E1}"/>
              </a:ext>
            </a:extLst>
          </p:cNvPr>
          <p:cNvSpPr/>
          <p:nvPr/>
        </p:nvSpPr>
        <p:spPr>
          <a:xfrm>
            <a:off x="7342188" y="5240338"/>
            <a:ext cx="560387" cy="42386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95492D1-4859-467D-8AC5-D5265EAED813}"/>
              </a:ext>
            </a:extLst>
          </p:cNvPr>
          <p:cNvSpPr/>
          <p:nvPr/>
        </p:nvSpPr>
        <p:spPr>
          <a:xfrm>
            <a:off x="1177925" y="5240338"/>
            <a:ext cx="560388" cy="42386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A133B9E-754D-43EF-9F2B-28A3836479BD}"/>
              </a:ext>
            </a:extLst>
          </p:cNvPr>
          <p:cNvSpPr/>
          <p:nvPr/>
        </p:nvSpPr>
        <p:spPr>
          <a:xfrm>
            <a:off x="8610600" y="5240338"/>
            <a:ext cx="461963" cy="42386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3DEB6BCC-B620-4AE4-8898-0B9CCC114A2E}"/>
              </a:ext>
            </a:extLst>
          </p:cNvPr>
          <p:cNvSpPr/>
          <p:nvPr/>
        </p:nvSpPr>
        <p:spPr>
          <a:xfrm>
            <a:off x="5476549" y="3767846"/>
            <a:ext cx="6078538" cy="750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雅思</a:t>
            </a:r>
            <a:r>
              <a:rPr kumimoji="0" lang="en-US" altLang="zh-TW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6.5</a:t>
            </a: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分等同於全民英檢高級</a:t>
            </a:r>
            <a:endParaRPr kumimoji="0" lang="en-US" altLang="zh-TW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srgbClr val="FFF364"/>
              </a:highligh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CAD997BE-4E63-4928-8213-B6ED505BF6E0}"/>
              </a:ext>
            </a:extLst>
          </p:cNvPr>
          <p:cNvSpPr/>
          <p:nvPr/>
        </p:nvSpPr>
        <p:spPr>
          <a:xfrm>
            <a:off x="182563" y="236538"/>
            <a:ext cx="4003675" cy="509587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0201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0AB5B930-353C-475E-9D82-83BABC4CE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ED3009-F406-4649-B438-F594C845B156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pic>
        <p:nvPicPr>
          <p:cNvPr id="37891" name="圖片 3" descr="一張含有 文字 的圖片&#10;&#10;自動產生的描述">
            <a:extLst>
              <a:ext uri="{FF2B5EF4-FFF2-40B4-BE49-F238E27FC236}">
                <a16:creationId xmlns:a16="http://schemas.microsoft.com/office/drawing/2014/main" id="{C9860000-94B8-4F1A-8E94-A8AC1B39A2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" y="3502025"/>
            <a:ext cx="6591300" cy="25733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892" name="文字方塊 4">
            <a:extLst>
              <a:ext uri="{FF2B5EF4-FFF2-40B4-BE49-F238E27FC236}">
                <a16:creationId xmlns:a16="http://schemas.microsoft.com/office/drawing/2014/main" id="{532FE695-3606-4A4F-B9BA-28D7F2E091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2475" y="2990850"/>
            <a:ext cx="35702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政治大學外語系畢業門檻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CFB1A0DE-94EE-4886-94C4-7AFD65842E88}"/>
              </a:ext>
            </a:extLst>
          </p:cNvPr>
          <p:cNvSpPr/>
          <p:nvPr/>
        </p:nvSpPr>
        <p:spPr>
          <a:xfrm>
            <a:off x="1322388" y="5075238"/>
            <a:ext cx="3260725" cy="300037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pic>
        <p:nvPicPr>
          <p:cNvPr id="37894" name="圖片 7" descr="一張含有 文字 的圖片&#10;&#10;自動產生的描述">
            <a:extLst>
              <a:ext uri="{FF2B5EF4-FFF2-40B4-BE49-F238E27FC236}">
                <a16:creationId xmlns:a16="http://schemas.microsoft.com/office/drawing/2014/main" id="{A74C154C-07BF-42CE-A90C-823FD64DFF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1152525"/>
            <a:ext cx="8050213" cy="14859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矩形 8">
            <a:extLst>
              <a:ext uri="{FF2B5EF4-FFF2-40B4-BE49-F238E27FC236}">
                <a16:creationId xmlns:a16="http://schemas.microsoft.com/office/drawing/2014/main" id="{D496B0EF-1C59-41BD-8CA0-5273C4785AA0}"/>
              </a:ext>
            </a:extLst>
          </p:cNvPr>
          <p:cNvSpPr/>
          <p:nvPr/>
        </p:nvSpPr>
        <p:spPr>
          <a:xfrm>
            <a:off x="1547813" y="1485900"/>
            <a:ext cx="3832225" cy="40957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37896" name="文字方塊 9">
            <a:extLst>
              <a:ext uri="{FF2B5EF4-FFF2-40B4-BE49-F238E27FC236}">
                <a16:creationId xmlns:a16="http://schemas.microsoft.com/office/drawing/2014/main" id="{E68C24FE-D6EA-4442-87F4-4DD32D96D1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5325" y="592138"/>
            <a:ext cx="26479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臺灣大學畢業門檻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D177F58-DDA5-4C72-9301-EF4FB30385C1}"/>
              </a:ext>
            </a:extLst>
          </p:cNvPr>
          <p:cNvSpPr/>
          <p:nvPr/>
        </p:nvSpPr>
        <p:spPr>
          <a:xfrm>
            <a:off x="1322388" y="3813175"/>
            <a:ext cx="3589337" cy="301625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9805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8"/>
          <p:cNvSpPr/>
          <p:nvPr/>
        </p:nvSpPr>
        <p:spPr>
          <a:xfrm>
            <a:off x="839200" y="1098875"/>
            <a:ext cx="3756300" cy="3370200"/>
          </a:xfrm>
          <a:prstGeom prst="rect">
            <a:avLst/>
          </a:prstGeom>
          <a:solidFill>
            <a:srgbClr val="006633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" name="Google Shape;112;p8"/>
          <p:cNvSpPr txBox="1"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200"/>
                <a:buFontTx/>
                <a:buNone/>
                <a:tabLst/>
                <a:defRPr/>
              </a:pPr>
              <a:t>13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5" name="Google Shape;115;p8"/>
          <p:cNvSpPr txBox="1"/>
          <p:nvPr/>
        </p:nvSpPr>
        <p:spPr>
          <a:xfrm>
            <a:off x="1158626" y="2075358"/>
            <a:ext cx="3117423" cy="95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Arial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同時取得臺加高中雙文憑</a:t>
            </a:r>
            <a:endParaRPr kumimoji="0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pic>
        <p:nvPicPr>
          <p:cNvPr id="116" name="Google Shape;116;p8" descr="畢業帽 外框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60138" y="1240045"/>
            <a:ext cx="914400" cy="914400"/>
          </a:xfrm>
          <a:prstGeom prst="rect">
            <a:avLst/>
          </a:prstGeom>
          <a:noFill/>
          <a:ln>
            <a:noFill/>
          </a:ln>
        </p:spPr>
      </p:pic>
      <p:sp>
        <p:nvSpPr>
          <p:cNvPr id="117" name="Google Shape;117;p8"/>
          <p:cNvSpPr txBox="1"/>
          <p:nvPr/>
        </p:nvSpPr>
        <p:spPr>
          <a:xfrm>
            <a:off x="839200" y="3142150"/>
            <a:ext cx="37563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兩年在臺修畢指定科目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通過加拿大認證臺灣課程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118" name="Google Shape;118;p8"/>
          <p:cNvSpPr txBox="1"/>
          <p:nvPr/>
        </p:nvSpPr>
        <p:spPr>
          <a:xfrm>
            <a:off x="5636650" y="1287500"/>
            <a:ext cx="4697700" cy="800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33"/>
              </a:buClr>
              <a:buSzPts val="4000"/>
              <a:buFont typeface="Arial"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台灣高中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畢業文憑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" name="Google Shape;119;p8"/>
          <p:cNvSpPr txBox="1"/>
          <p:nvPr/>
        </p:nvSpPr>
        <p:spPr>
          <a:xfrm>
            <a:off x="5636650" y="3261750"/>
            <a:ext cx="6159000" cy="8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加拿大薩省高中畢業文憑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" name="Google Shape;120;p8"/>
          <p:cNvSpPr txBox="1"/>
          <p:nvPr/>
        </p:nvSpPr>
        <p:spPr>
          <a:xfrm>
            <a:off x="5636650" y="4209075"/>
            <a:ext cx="6328800" cy="161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</a:rPr>
              <a:t>加拿大薩省教育局所頒發正式</a:t>
            </a:r>
            <a:endParaRPr kumimoji="0" sz="3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</a:rPr>
              <a:t>高中畢業證書</a:t>
            </a:r>
            <a:endParaRPr kumimoji="0" sz="31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prstClr val="white"/>
              </a:highlight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Microsoft JhengHei"/>
              <a:sym typeface="Microsoft JhengHe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highlight>
                  <a:prstClr val="white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-&gt;</a:t>
            </a:r>
            <a:r>
              <a:rPr kumimoji="0" lang="en-US" sz="31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highlight>
                  <a:prstClr val="white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申請海外大學更具優勢</a:t>
            </a:r>
            <a:endParaRPr kumimoji="0" sz="31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highlight>
                <a:prstClr val="white"/>
              </a:highlight>
              <a:uLnTx/>
              <a:uFillTx/>
              <a:latin typeface="Microsoft JhengHei"/>
              <a:ea typeface="Microsoft JhengHei"/>
              <a:cs typeface="Microsoft JhengHei"/>
              <a:sym typeface="Microsoft JhengHei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" name="Google Shape;125;gdbe799c45d_0_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5125" y="4644800"/>
            <a:ext cx="11908576" cy="1987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6" name="Google Shape;126;gdbe799c45d_0_3"/>
          <p:cNvPicPr preferRelativeResize="0"/>
          <p:nvPr/>
        </p:nvPicPr>
        <p:blipFill rotWithShape="1">
          <a:blip r:embed="rId4">
            <a:alphaModFix/>
          </a:blip>
          <a:srcRect t="63969" r="20210"/>
          <a:stretch/>
        </p:blipFill>
        <p:spPr>
          <a:xfrm>
            <a:off x="384397" y="2018050"/>
            <a:ext cx="9275050" cy="2060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" name="Google Shape;127;gdbe799c45d_0_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01422" y="313075"/>
            <a:ext cx="1678802" cy="1678802"/>
          </a:xfrm>
          <a:prstGeom prst="rect">
            <a:avLst/>
          </a:prstGeom>
          <a:noFill/>
          <a:ln>
            <a:noFill/>
          </a:ln>
        </p:spPr>
      </p:pic>
      <p:sp>
        <p:nvSpPr>
          <p:cNvPr id="128" name="Google Shape;128;gdbe799c45d_0_3"/>
          <p:cNvSpPr txBox="1"/>
          <p:nvPr/>
        </p:nvSpPr>
        <p:spPr>
          <a:xfrm>
            <a:off x="1980225" y="433250"/>
            <a:ext cx="8076000" cy="70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prstClr val="white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以加拿大英屬哥倫比亞大學為例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prstClr val="white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" name="Google Shape;129;gdbe799c45d_0_3"/>
          <p:cNvSpPr txBox="1"/>
          <p:nvPr/>
        </p:nvSpPr>
        <p:spPr>
          <a:xfrm>
            <a:off x="2598550" y="1141250"/>
            <a:ext cx="8583900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prstClr val="white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2021年 加拿大排名第2名、世界排名31名</a:t>
            </a:r>
            <a:endParaRPr kumimoji="0" sz="4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highlight>
                <a:prstClr val="white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" name="Google Shape;130;gdbe799c45d_0_3"/>
          <p:cNvSpPr txBox="1"/>
          <p:nvPr/>
        </p:nvSpPr>
        <p:spPr>
          <a:xfrm>
            <a:off x="6879275" y="2105950"/>
            <a:ext cx="2417100" cy="92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加拿大薩省畢業文憑申請條件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" name="Google Shape;131;gdbe799c45d_0_3"/>
          <p:cNvSpPr txBox="1"/>
          <p:nvPr/>
        </p:nvSpPr>
        <p:spPr>
          <a:xfrm>
            <a:off x="3697300" y="4835575"/>
            <a:ext cx="41364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台灣高中畢業文憑申請條件</a:t>
            </a: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" name="Google Shape;132;gdbe799c45d_0_3"/>
          <p:cNvSpPr/>
          <p:nvPr/>
        </p:nvSpPr>
        <p:spPr>
          <a:xfrm>
            <a:off x="2256900" y="5707700"/>
            <a:ext cx="1805400" cy="378600"/>
          </a:xfrm>
          <a:prstGeom prst="rect">
            <a:avLst/>
          </a:prstGeom>
          <a:noFill/>
          <a:ln w="762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Google Shape;133;gdbe799c45d_0_3"/>
          <p:cNvSpPr/>
          <p:nvPr/>
        </p:nvSpPr>
        <p:spPr>
          <a:xfrm>
            <a:off x="2176325" y="3026975"/>
            <a:ext cx="3589500" cy="378600"/>
          </a:xfrm>
          <a:prstGeom prst="rect">
            <a:avLst/>
          </a:prstGeom>
          <a:noFill/>
          <a:ln w="7620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CCC0BCE1-F606-48C4-8349-DEEE9D248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96BAFE-4D11-4261-BA5E-985C75D6195D}" type="slidenum">
              <a:rPr lang="zh-TW" altLang="en-US" smtClean="0"/>
              <a:pPr>
                <a:defRPr/>
              </a:pPr>
              <a:t>14</a:t>
            </a:fld>
            <a:endParaRPr lang="zh-TW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12"/>
          <p:cNvSpPr txBox="1">
            <a:spLocks noGrp="1"/>
          </p:cNvSpPr>
          <p:nvPr>
            <p:ph type="title"/>
          </p:nvPr>
        </p:nvSpPr>
        <p:spPr>
          <a:xfrm>
            <a:off x="3478135" y="338257"/>
            <a:ext cx="5235729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33"/>
              </a:buClr>
              <a:buSzPts val="4000"/>
              <a:buFont typeface="Microsoft JhengHei"/>
              <a:buNone/>
            </a:pPr>
            <a:r>
              <a:rPr lang="en-US" sz="4000" b="1">
                <a:solidFill>
                  <a:srgbClr val="006633"/>
                </a:solidFill>
                <a:latin typeface="Microsoft JhengHei"/>
                <a:ea typeface="Microsoft JhengHei"/>
                <a:cs typeface="Microsoft JhengHei"/>
                <a:sym typeface="Microsoft JhengHei"/>
              </a:rPr>
              <a:t>臺加雙聯學習課程 8科</a:t>
            </a:r>
            <a:endParaRPr/>
          </a:p>
        </p:txBody>
      </p:sp>
      <p:graphicFrame>
        <p:nvGraphicFramePr>
          <p:cNvPr id="216" name="Google Shape;216;p12"/>
          <p:cNvGraphicFramePr/>
          <p:nvPr>
            <p:extLst>
              <p:ext uri="{D42A27DB-BD31-4B8C-83A1-F6EECF244321}">
                <p14:modId xmlns:p14="http://schemas.microsoft.com/office/powerpoint/2010/main" val="991563884"/>
              </p:ext>
            </p:extLst>
          </p:nvPr>
        </p:nvGraphicFramePr>
        <p:xfrm>
          <a:off x="701040" y="1133337"/>
          <a:ext cx="10820375" cy="431589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4676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1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72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70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學期</a:t>
                      </a:r>
                      <a:endParaRPr sz="1400" u="none" strike="noStrike" cap="none" dirty="0"/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C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>
                          <a:latin typeface="Arial"/>
                          <a:ea typeface="Arial"/>
                          <a:cs typeface="Arial"/>
                          <a:sym typeface="Arial"/>
                        </a:rPr>
                        <a:t>課程</a:t>
                      </a:r>
                      <a:endParaRPr sz="1400" u="none" strike="noStrike" cap="none"/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70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高一上學期</a:t>
                      </a:r>
                      <a:endParaRPr sz="1400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zh-TW" altLang="en-US" sz="2800" b="1" u="none" strike="noStrike" cap="none" dirty="0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基礎</a:t>
                      </a: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課程</a:t>
                      </a:r>
                      <a:endParaRPr sz="1400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英文10A</a:t>
                      </a:r>
                      <a:endParaRPr sz="2800" b="1" u="none" strike="noStrike" cap="none">
                        <a:solidFill>
                          <a:srgbClr val="FF0000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70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高一下學期</a:t>
                      </a:r>
                      <a:endParaRPr sz="1400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英語 10B</a:t>
                      </a:r>
                      <a:endParaRPr sz="2800" b="1" u="none" strike="noStrike" cap="none">
                        <a:solidFill>
                          <a:srgbClr val="FF0000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zh-TW" altLang="en-US" sz="2800" b="1" u="none" strike="noStrike" cap="none" dirty="0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數學 </a:t>
                      </a:r>
                      <a:r>
                        <a:rPr lang="en-US" altLang="zh-TW" sz="2800" b="1" u="none" strike="noStrike" cap="none" dirty="0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30</a:t>
                      </a:r>
                      <a:endParaRPr lang="zh-TW" altLang="en-US" sz="2800" b="1" u="none" strike="noStrike" cap="none" dirty="0">
                        <a:solidFill>
                          <a:srgbClr val="FF0000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70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一升二暑假</a:t>
                      </a:r>
                      <a:endParaRPr lang="en-US" sz="2800" b="1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(</a:t>
                      </a:r>
                      <a:r>
                        <a:rPr lang="zh-TW" altLang="en-US" sz="2800" b="1" u="none" strike="noStrike" cap="none" dirty="0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也可選擇前往</a:t>
                      </a: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加拿大暑修</a:t>
                      </a:r>
                      <a:r>
                        <a:rPr lang="en-US" sz="2800" b="1" u="none" strike="noStrike" cap="none" dirty="0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)</a:t>
                      </a:r>
                      <a:endParaRPr sz="2800" b="1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英文 20</a:t>
                      </a:r>
                      <a:endParaRPr sz="2800" b="1" u="none" strike="noStrike" cap="none">
                        <a:solidFill>
                          <a:srgbClr val="FF0000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70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高二上學期</a:t>
                      </a:r>
                      <a:endParaRPr sz="1400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英文</a:t>
                      </a:r>
                      <a:r>
                        <a:rPr lang="en-US" sz="2800" b="1" u="none" strike="noStrike" cap="none" dirty="0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 30A</a:t>
                      </a:r>
                      <a:endParaRPr sz="2800" b="1" u="none" strike="noStrike" cap="none" dirty="0">
                        <a:solidFill>
                          <a:srgbClr val="FF0000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zh-TW" altLang="en-US" sz="2800" b="1" u="none" strike="noStrike" cap="none" dirty="0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選修</a:t>
                      </a:r>
                      <a:r>
                        <a:rPr lang="en-US" altLang="zh-TW" sz="2800" b="1" u="none" strike="noStrike" cap="none" dirty="0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1</a:t>
                      </a:r>
                      <a:endParaRPr sz="2800" b="1" u="none" strike="noStrike" cap="none" dirty="0">
                        <a:solidFill>
                          <a:srgbClr val="FF0000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70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高二下學期</a:t>
                      </a:r>
                      <a:endParaRPr sz="1400" u="none" strike="noStrike" cap="none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英文</a:t>
                      </a:r>
                      <a:r>
                        <a:rPr lang="en-US" sz="2800" b="1" u="none" strike="noStrike" cap="none" dirty="0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 30B</a:t>
                      </a:r>
                      <a:endParaRPr sz="2800" b="1" u="none" strike="noStrike" cap="none" dirty="0">
                        <a:solidFill>
                          <a:srgbClr val="FF0000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>
                          <a:solidFill>
                            <a:srgbClr val="FF0000"/>
                          </a:solidFill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社會 30</a:t>
                      </a:r>
                      <a:endParaRPr sz="2800" b="1" u="none" strike="noStrike" cap="none">
                        <a:solidFill>
                          <a:srgbClr val="FF0000"/>
                        </a:solidFill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770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二升三暑假</a:t>
                      </a:r>
                      <a:r>
                        <a:rPr lang="en-US" sz="2800" b="1" u="none" strike="noStrike" cap="none" dirty="0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(</a:t>
                      </a:r>
                      <a:r>
                        <a:rPr lang="en-US" sz="2800" b="1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</a:rPr>
                        <a:t>額外</a:t>
                      </a: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選修</a:t>
                      </a:r>
                      <a:r>
                        <a:rPr lang="en-US" sz="2800" b="1" u="none" strike="noStrike" cap="none" dirty="0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)</a:t>
                      </a:r>
                      <a:endParaRPr sz="2800" b="1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化學</a:t>
                      </a:r>
                      <a:r>
                        <a:rPr lang="en-US" sz="2800" b="1" u="none" strike="noStrike" cap="none" dirty="0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  30</a:t>
                      </a:r>
                      <a:endParaRPr sz="2800" b="1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 err="1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生物</a:t>
                      </a:r>
                      <a:r>
                        <a:rPr lang="en-US" sz="2800" b="1" u="none" strike="noStrike" cap="none" dirty="0">
                          <a:latin typeface="Microsoft JhengHei" panose="020B0604030504040204" pitchFamily="34" charset="-120"/>
                          <a:ea typeface="Microsoft JhengHei" panose="020B0604030504040204" pitchFamily="34" charset="-120"/>
                          <a:cs typeface="Microsoft Himalaya" panose="01010100010101010101" pitchFamily="2" charset="0"/>
                          <a:sym typeface="Arial"/>
                        </a:rPr>
                        <a:t> 30</a:t>
                      </a:r>
                      <a:endParaRPr sz="2800" b="1" u="none" strike="noStrike" cap="none" dirty="0">
                        <a:latin typeface="Microsoft JhengHei" panose="020B0604030504040204" pitchFamily="34" charset="-120"/>
                        <a:ea typeface="Microsoft JhengHei" panose="020B0604030504040204" pitchFamily="34" charset="-120"/>
                        <a:cs typeface="Microsoft Himalaya" panose="01010100010101010101" pitchFamily="2" charset="0"/>
                        <a:sym typeface="Arial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17" name="Google Shape;217;p12"/>
          <p:cNvSpPr/>
          <p:nvPr/>
        </p:nvSpPr>
        <p:spPr>
          <a:xfrm>
            <a:off x="701040" y="5521340"/>
            <a:ext cx="10896600" cy="120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Arial"/>
                <a:sym typeface="Arial"/>
              </a:rPr>
              <a:t>另學生高一高二在</a:t>
            </a: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Arial"/>
                <a:sym typeface="Arial"/>
              </a:rPr>
              <a:t>台灣高中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icrosoft JhengHei" panose="020B0604030504040204" pitchFamily="34" charset="-120"/>
                <a:ea typeface="Microsoft JhengHei" panose="020B0604030504040204" pitchFamily="34" charset="-120"/>
                <a:cs typeface="Arial"/>
                <a:sym typeface="Arial"/>
              </a:rPr>
              <a:t>之修課之英文成績單，將逕送加拿大薩省校教育局審查學分認證，認證轉換之成果需符合各項條件，其中必修、選修學分條件皆應滿足，始具備取得薩省高中文憑資格。</a:t>
            </a: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JhengHei" panose="020B0604030504040204" pitchFamily="34" charset="-120"/>
              <a:ea typeface="Microsoft JhengHei" panose="020B0604030504040204" pitchFamily="34" charset="-120"/>
              <a:cs typeface="Arial"/>
              <a:sym typeface="Arial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4A6C3BC-D048-4500-B20F-CF6F4C76BBC1}"/>
              </a:ext>
            </a:extLst>
          </p:cNvPr>
          <p:cNvSpPr/>
          <p:nvPr/>
        </p:nvSpPr>
        <p:spPr>
          <a:xfrm>
            <a:off x="5590383" y="6319688"/>
            <a:ext cx="3510628" cy="40011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➡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在校成績也很重要</a:t>
            </a:r>
          </a:p>
        </p:txBody>
      </p:sp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A4028E2A-3876-4630-9A4B-431D2B155F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5</a:t>
            </a:fld>
            <a:endParaRPr lang="en-US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CC4DD614-C9DD-4A10-8103-9736D572F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E9A6FF-8F63-4EEA-9C80-58CF011429F6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5" name="文字方塊 4">
            <a:extLst>
              <a:ext uri="{FF2B5EF4-FFF2-40B4-BE49-F238E27FC236}">
                <a16:creationId xmlns:a16="http://schemas.microsoft.com/office/drawing/2014/main" id="{E055396F-E60D-4957-B04B-1056C56664D0}"/>
              </a:ext>
            </a:extLst>
          </p:cNvPr>
          <p:cNvSpPr txBox="1"/>
          <p:nvPr/>
        </p:nvSpPr>
        <p:spPr>
          <a:xfrm>
            <a:off x="694531" y="1563111"/>
            <a:ext cx="6094413" cy="39137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98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必修</a:t>
            </a:r>
            <a:endParaRPr kumimoji="0" lang="en-US" altLang="zh-TW" sz="2800" b="1" i="0" u="none" strike="noStrike" kern="1200" cap="none" spc="0" normalizeH="0" baseline="0" noProof="0" dirty="0">
              <a:ln>
                <a:noFill/>
              </a:ln>
              <a:solidFill>
                <a:srgbClr val="FF98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英文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A10 English Language Arts A10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英文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B10 English Language Arts B10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英文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20 English Language Arts 20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英文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A30 English Language Arts A30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英文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B30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English Language Arts B30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人類學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Indigenous Studies 30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微積分先修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Pre-Calculus 30</a:t>
            </a:r>
          </a:p>
        </p:txBody>
      </p:sp>
      <p:sp>
        <p:nvSpPr>
          <p:cNvPr id="50180" name="文字方塊 5">
            <a:extLst>
              <a:ext uri="{FF2B5EF4-FFF2-40B4-BE49-F238E27FC236}">
                <a16:creationId xmlns:a16="http://schemas.microsoft.com/office/drawing/2014/main" id="{FD2CA3EA-3E2B-498D-B060-46A5BC1F6B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4950" y="614363"/>
            <a:ext cx="223678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修業科目</a:t>
            </a:r>
          </a:p>
        </p:txBody>
      </p:sp>
      <p:cxnSp>
        <p:nvCxnSpPr>
          <p:cNvPr id="7" name="直線接點 6">
            <a:extLst>
              <a:ext uri="{FF2B5EF4-FFF2-40B4-BE49-F238E27FC236}">
                <a16:creationId xmlns:a16="http://schemas.microsoft.com/office/drawing/2014/main" id="{F6A4EA9F-2962-4E1C-9018-F1CE4452F332}"/>
              </a:ext>
            </a:extLst>
          </p:cNvPr>
          <p:cNvCxnSpPr>
            <a:cxnSpLocks/>
          </p:cNvCxnSpPr>
          <p:nvPr/>
        </p:nvCxnSpPr>
        <p:spPr>
          <a:xfrm>
            <a:off x="0" y="968375"/>
            <a:ext cx="1504950" cy="0"/>
          </a:xfrm>
          <a:prstGeom prst="line">
            <a:avLst/>
          </a:prstGeom>
          <a:ln w="155575">
            <a:solidFill>
              <a:srgbClr val="00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字方塊 8">
            <a:extLst>
              <a:ext uri="{FF2B5EF4-FFF2-40B4-BE49-F238E27FC236}">
                <a16:creationId xmlns:a16="http://schemas.microsoft.com/office/drawing/2014/main" id="{C499AAB4-B447-4D83-8AB3-C70BFD5A20FD}"/>
              </a:ext>
            </a:extLst>
          </p:cNvPr>
          <p:cNvSpPr txBox="1"/>
          <p:nvPr/>
        </p:nvSpPr>
        <p:spPr>
          <a:xfrm>
            <a:off x="6533771" y="1563111"/>
            <a:ext cx="6092825" cy="355135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98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選修 </a:t>
            </a:r>
            <a:r>
              <a:rPr kumimoji="0" lang="en-US" altLang="zh-TW" sz="2800" b="1" i="0" u="none" strike="noStrike" kern="1200" cap="none" spc="0" normalizeH="0" baseline="0" noProof="0" dirty="0">
                <a:ln>
                  <a:noFill/>
                </a:ln>
                <a:solidFill>
                  <a:srgbClr val="FF98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(7</a:t>
            </a:r>
            <a:r>
              <a:rPr kumimoji="0" lang="zh-TW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98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選</a:t>
            </a:r>
            <a:r>
              <a:rPr kumimoji="0" lang="en-US" altLang="zh-TW" sz="2800" b="1" i="0" u="none" strike="noStrike" kern="1200" cap="none" spc="0" normalizeH="0" baseline="0" noProof="0" dirty="0">
                <a:ln>
                  <a:noFill/>
                </a:ln>
                <a:solidFill>
                  <a:srgbClr val="FF9800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生物學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Biology 30,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化學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Chemistry 30,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電腦科技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Computer Science 30,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地球科學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Earth Science 30,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+mn-cs"/>
              </a:rPr>
              <a:t>物理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+mn-cs"/>
              </a:rPr>
              <a:t>Physics 30,(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+mn-cs"/>
              </a:rPr>
              <a:t>建議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+mn-cs"/>
              </a:rPr>
              <a:t>)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心理學 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Psychology 30</a:t>
            </a:r>
            <a:endParaRPr kumimoji="0" lang="zh-TW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12481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內容版面配置區 2"/>
          <p:cNvSpPr txBox="1">
            <a:spLocks/>
          </p:cNvSpPr>
          <p:nvPr/>
        </p:nvSpPr>
        <p:spPr>
          <a:xfrm>
            <a:off x="542191" y="1521170"/>
            <a:ext cx="11765815" cy="22206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Times New Roman" panose="02020603050405020304" pitchFamily="18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Times New Roman" panose="02020603050405020304" pitchFamily="18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Times New Roman" panose="02020603050405020304" pitchFamily="18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Times New Roman" panose="02020603050405020304" pitchFamily="18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Times New Roman" panose="02020603050405020304" pitchFamily="18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50000"/>
              <a:buFont typeface="Arial" panose="020B0604020202020204" pitchFamily="34" charset="0"/>
              <a:buBlip>
                <a:blip r:embed="rId3"/>
              </a:buBlip>
              <a:tabLst/>
              <a:defRPr/>
            </a:pPr>
            <a:r>
              <a:rPr kumimoji="0" lang="zh-TW" alt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薩省教育局官方開辦之</a:t>
            </a:r>
            <a:r>
              <a:rPr kumimoji="0" lang="en-US" altLang="zh-TW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Saskatoon</a:t>
            </a:r>
            <a:r>
              <a:rPr kumimoji="0" lang="zh-TW" alt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 </a:t>
            </a:r>
            <a:r>
              <a:rPr kumimoji="0" lang="en-US" altLang="zh-TW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International School</a:t>
            </a:r>
            <a:r>
              <a:rPr kumimoji="0" lang="zh-TW" alt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的線上課程，                 </a:t>
            </a:r>
            <a:endParaRPr kumimoji="0" lang="en-US" altLang="zh-TW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50000"/>
              <a:buFont typeface="Arial" panose="020B0604020202020204" pitchFamily="34" charset="0"/>
              <a:buNone/>
              <a:tabLst/>
              <a:defRPr/>
            </a:pPr>
            <a:r>
              <a:rPr kumimoji="0" lang="zh-TW" alt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    並使用豐富的學習資源。</a:t>
            </a:r>
            <a:endParaRPr kumimoji="0" lang="en-US" altLang="zh-TW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50000"/>
              <a:buFont typeface="Arial" panose="020B0604020202020204" pitchFamily="34" charset="0"/>
              <a:buBlip>
                <a:blip r:embed="rId3"/>
              </a:buBlip>
              <a:tabLst/>
              <a:defRPr/>
            </a:pPr>
            <a:r>
              <a:rPr kumimoji="0" lang="zh-TW" alt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本課程可融入</a:t>
            </a:r>
            <a:r>
              <a:rPr kumimoji="0" lang="en-US" altLang="zh-TW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108 </a:t>
            </a:r>
            <a:r>
              <a:rPr kumimoji="0" lang="zh-TW" alt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課綱之彈性學習，增進學生自主學習和運用線上</a:t>
            </a:r>
            <a:endParaRPr kumimoji="0" lang="en-US" altLang="zh-TW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150000"/>
              <a:buFont typeface="Arial" panose="020B0604020202020204" pitchFamily="34" charset="0"/>
              <a:buNone/>
              <a:tabLst/>
              <a:defRPr/>
            </a:pPr>
            <a:r>
              <a:rPr kumimoji="0" lang="zh-TW" alt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     資源的能力。</a:t>
            </a:r>
            <a:endParaRPr kumimoji="0" lang="en-US" altLang="zh-TW" sz="2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</a:endParaRPr>
          </a:p>
        </p:txBody>
      </p:sp>
      <p:pic>
        <p:nvPicPr>
          <p:cNvPr id="2" name="圖片 1">
            <a:hlinkClick r:id="rId4" action="ppaction://hlinkfile"/>
          </p:cNvPr>
          <p:cNvPicPr>
            <a:picLocks noChangeAspect="1"/>
          </p:cNvPicPr>
          <p:nvPr/>
        </p:nvPicPr>
        <p:blipFill rotWithShape="1">
          <a:blip r:embed="rId5"/>
          <a:srcRect t="31624" r="2186" b="13405"/>
          <a:stretch/>
        </p:blipFill>
        <p:spPr>
          <a:xfrm>
            <a:off x="1579862" y="3646285"/>
            <a:ext cx="9187272" cy="3097944"/>
          </a:xfrm>
          <a:prstGeom prst="rect">
            <a:avLst/>
          </a:prstGeom>
        </p:spPr>
      </p:pic>
      <p:sp>
        <p:nvSpPr>
          <p:cNvPr id="6" name="標題 2">
            <a:extLst>
              <a:ext uri="{FF2B5EF4-FFF2-40B4-BE49-F238E27FC236}">
                <a16:creationId xmlns:a16="http://schemas.microsoft.com/office/drawing/2014/main" id="{84B144E8-4AD2-4946-AFAF-45F72919B9CB}"/>
              </a:ext>
            </a:extLst>
          </p:cNvPr>
          <p:cNvSpPr txBox="1">
            <a:spLocks/>
          </p:cNvSpPr>
          <p:nvPr/>
        </p:nvSpPr>
        <p:spPr>
          <a:xfrm>
            <a:off x="1742066" y="627476"/>
            <a:ext cx="11029616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TW" alt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學習資源</a:t>
            </a:r>
          </a:p>
        </p:txBody>
      </p:sp>
      <p:cxnSp>
        <p:nvCxnSpPr>
          <p:cNvPr id="7" name="Google Shape;114;p8">
            <a:extLst>
              <a:ext uri="{FF2B5EF4-FFF2-40B4-BE49-F238E27FC236}">
                <a16:creationId xmlns:a16="http://schemas.microsoft.com/office/drawing/2014/main" id="{86CC19FD-4AF6-4B92-863B-E11E8D32A4F8}"/>
              </a:ext>
            </a:extLst>
          </p:cNvPr>
          <p:cNvCxnSpPr/>
          <p:nvPr/>
        </p:nvCxnSpPr>
        <p:spPr>
          <a:xfrm>
            <a:off x="0" y="957291"/>
            <a:ext cx="1504950" cy="0"/>
          </a:xfrm>
          <a:prstGeom prst="straightConnector1">
            <a:avLst/>
          </a:prstGeom>
          <a:noFill/>
          <a:ln w="155575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30FB2164-BDB3-4CBD-A5CC-ED5FA08D61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96BAFE-4D11-4261-BA5E-985C75D6195D}" type="slidenum">
              <a:rPr lang="zh-TW" altLang="en-US" smtClean="0"/>
              <a:pPr>
                <a:defRPr/>
              </a:pPr>
              <a:t>1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8469685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圖片 8">
            <a:extLst>
              <a:ext uri="{FF2B5EF4-FFF2-40B4-BE49-F238E27FC236}">
                <a16:creationId xmlns:a16="http://schemas.microsoft.com/office/drawing/2014/main" id="{B187C60D-B623-444D-BA07-CB76D4265E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363" y="1054361"/>
            <a:ext cx="10310756" cy="5726365"/>
          </a:xfrm>
          <a:prstGeom prst="rect">
            <a:avLst/>
          </a:prstGeom>
        </p:spPr>
      </p:pic>
      <p:sp>
        <p:nvSpPr>
          <p:cNvPr id="12" name="矩形: 圓角 11">
            <a:extLst>
              <a:ext uri="{FF2B5EF4-FFF2-40B4-BE49-F238E27FC236}">
                <a16:creationId xmlns:a16="http://schemas.microsoft.com/office/drawing/2014/main" id="{000AC0F0-CE98-41E4-9CD5-C639A25E2827}"/>
              </a:ext>
            </a:extLst>
          </p:cNvPr>
          <p:cNvSpPr/>
          <p:nvPr/>
        </p:nvSpPr>
        <p:spPr>
          <a:xfrm>
            <a:off x="551830" y="2052699"/>
            <a:ext cx="2114714" cy="4315248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3" name="箭號: 向右 12">
            <a:extLst>
              <a:ext uri="{FF2B5EF4-FFF2-40B4-BE49-F238E27FC236}">
                <a16:creationId xmlns:a16="http://schemas.microsoft.com/office/drawing/2014/main" id="{19627B79-9C99-4737-BE48-D7C43D82731C}"/>
              </a:ext>
            </a:extLst>
          </p:cNvPr>
          <p:cNvSpPr/>
          <p:nvPr/>
        </p:nvSpPr>
        <p:spPr>
          <a:xfrm rot="10800000">
            <a:off x="2901982" y="3313108"/>
            <a:ext cx="487017" cy="41744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4" name="投影片編號版面配置區 13">
            <a:extLst>
              <a:ext uri="{FF2B5EF4-FFF2-40B4-BE49-F238E27FC236}">
                <a16:creationId xmlns:a16="http://schemas.microsoft.com/office/drawing/2014/main" id="{7AB42A50-BDAE-46CC-9B58-A5AFE263F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9ED9C5A7-D435-468A-B06F-3C9ABF09C590}"/>
              </a:ext>
            </a:extLst>
          </p:cNvPr>
          <p:cNvSpPr/>
          <p:nvPr/>
        </p:nvSpPr>
        <p:spPr>
          <a:xfrm>
            <a:off x="595284" y="316933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39623444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 descr="一張含有 文字 的圖片&#10;&#10;自動產生的描述">
            <a:extLst>
              <a:ext uri="{FF2B5EF4-FFF2-40B4-BE49-F238E27FC236}">
                <a16:creationId xmlns:a16="http://schemas.microsoft.com/office/drawing/2014/main" id="{3AADB2FA-606D-40E4-AC69-439A99F71A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8337" y="946650"/>
            <a:ext cx="8353486" cy="5719804"/>
          </a:xfrm>
          <a:prstGeom prst="rect">
            <a:avLst/>
          </a:prstGeom>
        </p:spPr>
      </p:pic>
      <p:sp>
        <p:nvSpPr>
          <p:cNvPr id="6" name="矩形: 圓角 5">
            <a:extLst>
              <a:ext uri="{FF2B5EF4-FFF2-40B4-BE49-F238E27FC236}">
                <a16:creationId xmlns:a16="http://schemas.microsoft.com/office/drawing/2014/main" id="{128C96D4-941C-4BFD-A614-6BFEFB5A12BF}"/>
              </a:ext>
            </a:extLst>
          </p:cNvPr>
          <p:cNvSpPr/>
          <p:nvPr/>
        </p:nvSpPr>
        <p:spPr>
          <a:xfrm>
            <a:off x="1769782" y="1981517"/>
            <a:ext cx="3657600" cy="3929833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7" name="箭號: 向右 6">
            <a:extLst>
              <a:ext uri="{FF2B5EF4-FFF2-40B4-BE49-F238E27FC236}">
                <a16:creationId xmlns:a16="http://schemas.microsoft.com/office/drawing/2014/main" id="{6FA58BBE-9A5B-45B2-9A8A-84081A869C38}"/>
              </a:ext>
            </a:extLst>
          </p:cNvPr>
          <p:cNvSpPr/>
          <p:nvPr/>
        </p:nvSpPr>
        <p:spPr>
          <a:xfrm rot="10800000">
            <a:off x="5855080" y="3796925"/>
            <a:ext cx="487017" cy="41744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F84A2BC9-5EED-400F-AF9A-2E29DF035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4A90D30-5D77-48D3-A2B1-72F46DED5FDC}"/>
              </a:ext>
            </a:extLst>
          </p:cNvPr>
          <p:cNvSpPr/>
          <p:nvPr/>
        </p:nvSpPr>
        <p:spPr>
          <a:xfrm>
            <a:off x="595284" y="316933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26321059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C0A9D85-952F-4FC4-842E-369BBE1C0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B6BCAD54-E058-4275-99FC-EA712F33B3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</a:t>
            </a:fld>
            <a:endParaRPr lang="en-US"/>
          </a:p>
        </p:txBody>
      </p:sp>
      <p:pic>
        <p:nvPicPr>
          <p:cNvPr id="8" name="圖片 7" descr="一張含有 文字, 天花板, 桌 的圖片&#10;&#10;自動產生的描述">
            <a:extLst>
              <a:ext uri="{FF2B5EF4-FFF2-40B4-BE49-F238E27FC236}">
                <a16:creationId xmlns:a16="http://schemas.microsoft.com/office/drawing/2014/main" id="{93B25E63-EC6B-4FC2-A7CD-88E7619033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3334" y="35215"/>
            <a:ext cx="7288445" cy="4124662"/>
          </a:xfrm>
          <a:prstGeom prst="rect">
            <a:avLst/>
          </a:prstGeom>
        </p:spPr>
      </p:pic>
      <p:pic>
        <p:nvPicPr>
          <p:cNvPr id="6" name="內容版面配置區 5">
            <a:extLst>
              <a:ext uri="{FF2B5EF4-FFF2-40B4-BE49-F238E27FC236}">
                <a16:creationId xmlns:a16="http://schemas.microsoft.com/office/drawing/2014/main" id="{461204B7-50A6-4445-8CB0-CE6F92A73B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610001" y="3595608"/>
            <a:ext cx="8394182" cy="3125867"/>
          </a:xfrm>
        </p:spPr>
      </p:pic>
      <p:sp>
        <p:nvSpPr>
          <p:cNvPr id="9" name="標題 7">
            <a:extLst>
              <a:ext uri="{FF2B5EF4-FFF2-40B4-BE49-F238E27FC236}">
                <a16:creationId xmlns:a16="http://schemas.microsoft.com/office/drawing/2014/main" id="{DB579007-43D5-4CE4-A014-36E116579183}"/>
              </a:ext>
            </a:extLst>
          </p:cNvPr>
          <p:cNvSpPr txBox="1">
            <a:spLocks/>
          </p:cNvSpPr>
          <p:nvPr/>
        </p:nvSpPr>
        <p:spPr>
          <a:xfrm>
            <a:off x="7560325" y="178453"/>
            <a:ext cx="4548376" cy="84945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kumimoji="0" sz="4000" b="1" i="0" u="none" strike="noStrike" kern="0" cap="none" spc="0" normalizeH="0" baseline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altLang="zh-TW" sz="3600" b="1" i="0" u="none" strike="noStrike" kern="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110</a:t>
            </a:r>
            <a:r>
              <a:rPr kumimoji="0" lang="zh-TW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學年度</a:t>
            </a:r>
            <a:endParaRPr kumimoji="0" lang="en-US" altLang="zh-TW" sz="3600" b="1" i="0" u="none" strike="noStrike" kern="0" cap="none" spc="0" normalizeH="0" baseline="0" noProof="0" dirty="0">
              <a:ln>
                <a:noFill/>
              </a:ln>
              <a:solidFill>
                <a:srgbClr val="006633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zh-TW" altLang="en-US" sz="3600" dirty="0"/>
              <a:t>德光中學與加拿大</a:t>
            </a:r>
            <a:r>
              <a:rPr lang="en-US" altLang="zh-TW" sz="3600" dirty="0"/>
              <a:t>GSCS</a:t>
            </a:r>
            <a:r>
              <a:rPr lang="zh-TW" altLang="en-US" sz="3600" dirty="0"/>
              <a:t>教育局簽署</a:t>
            </a:r>
            <a:endParaRPr lang="en-US" altLang="zh-TW" sz="3600" dirty="0"/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zh-TW" altLang="en-US" sz="3600" dirty="0"/>
              <a:t>合作備忘錄</a:t>
            </a:r>
            <a:endParaRPr kumimoji="0" lang="zh-TW" altLang="en-US" sz="3600" b="1" i="0" u="none" strike="noStrike" kern="0" cap="none" spc="0" normalizeH="0" baseline="0" noProof="0" dirty="0">
              <a:ln>
                <a:noFill/>
              </a:ln>
              <a:solidFill>
                <a:srgbClr val="006633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944091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>
            <a:extLst>
              <a:ext uri="{FF2B5EF4-FFF2-40B4-BE49-F238E27FC236}">
                <a16:creationId xmlns:a16="http://schemas.microsoft.com/office/drawing/2014/main" id="{7C4F0279-7D2A-4A46-89A1-D152E53341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831" y="739249"/>
            <a:ext cx="11906337" cy="5948406"/>
          </a:xfrm>
          <a:prstGeom prst="rect">
            <a:avLst/>
          </a:prstGeom>
        </p:spPr>
      </p:pic>
      <p:sp>
        <p:nvSpPr>
          <p:cNvPr id="5" name="箭號: 向右 4">
            <a:extLst>
              <a:ext uri="{FF2B5EF4-FFF2-40B4-BE49-F238E27FC236}">
                <a16:creationId xmlns:a16="http://schemas.microsoft.com/office/drawing/2014/main" id="{0147ED09-5891-498A-9BDF-FD0B8BFCE15A}"/>
              </a:ext>
            </a:extLst>
          </p:cNvPr>
          <p:cNvSpPr/>
          <p:nvPr/>
        </p:nvSpPr>
        <p:spPr>
          <a:xfrm>
            <a:off x="1847654" y="2951922"/>
            <a:ext cx="555208" cy="47707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6" name="矩形: 圓角 5">
            <a:extLst>
              <a:ext uri="{FF2B5EF4-FFF2-40B4-BE49-F238E27FC236}">
                <a16:creationId xmlns:a16="http://schemas.microsoft.com/office/drawing/2014/main" id="{215EAD13-6475-415F-83BD-B96EDAD6AD86}"/>
              </a:ext>
            </a:extLst>
          </p:cNvPr>
          <p:cNvSpPr/>
          <p:nvPr/>
        </p:nvSpPr>
        <p:spPr>
          <a:xfrm>
            <a:off x="3314540" y="843445"/>
            <a:ext cx="6628876" cy="4396560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D6AEBA5A-9BAA-490D-BEB6-3DB85DEFA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0AA2E8BB-27CF-4507-8959-19DCB4DDEA28}"/>
              </a:ext>
            </a:extLst>
          </p:cNvPr>
          <p:cNvSpPr/>
          <p:nvPr/>
        </p:nvSpPr>
        <p:spPr>
          <a:xfrm>
            <a:off x="142831" y="170345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29582272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 descr="一張含有 文字 的圖片&#10;&#10;自動產生的描述">
            <a:extLst>
              <a:ext uri="{FF2B5EF4-FFF2-40B4-BE49-F238E27FC236}">
                <a16:creationId xmlns:a16="http://schemas.microsoft.com/office/drawing/2014/main" id="{CE65C3A8-6E5C-4109-BCF6-6E1D04B474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083" y="1386709"/>
            <a:ext cx="10607834" cy="4084582"/>
          </a:xfrm>
          <a:prstGeom prst="rect">
            <a:avLst/>
          </a:prstGeom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5D33852C-F739-4D31-9308-E7B55F6EA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7D8CF62-3929-4484-9B38-BEA072FA751C}"/>
              </a:ext>
            </a:extLst>
          </p:cNvPr>
          <p:cNvSpPr/>
          <p:nvPr/>
        </p:nvSpPr>
        <p:spPr>
          <a:xfrm>
            <a:off x="595284" y="316933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12955824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 descr="一張含有 文字 的圖片&#10;&#10;自動產生的描述">
            <a:extLst>
              <a:ext uri="{FF2B5EF4-FFF2-40B4-BE49-F238E27FC236}">
                <a16:creationId xmlns:a16="http://schemas.microsoft.com/office/drawing/2014/main" id="{AACA9532-0071-405C-8C24-2FB09EC88B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086" y="1122680"/>
            <a:ext cx="7000926" cy="2519381"/>
          </a:xfrm>
          <a:prstGeom prst="rect">
            <a:avLst/>
          </a:prstGeom>
        </p:spPr>
      </p:pic>
      <p:sp>
        <p:nvSpPr>
          <p:cNvPr id="8" name="矩形: 圓角 7">
            <a:extLst>
              <a:ext uri="{FF2B5EF4-FFF2-40B4-BE49-F238E27FC236}">
                <a16:creationId xmlns:a16="http://schemas.microsoft.com/office/drawing/2014/main" id="{14B8BA8C-A5D3-4076-A2E4-CE26AC4DF46C}"/>
              </a:ext>
            </a:extLst>
          </p:cNvPr>
          <p:cNvSpPr/>
          <p:nvPr/>
        </p:nvSpPr>
        <p:spPr>
          <a:xfrm>
            <a:off x="2020921" y="1975490"/>
            <a:ext cx="4977352" cy="1566200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9" name="箭號: 向右 8">
            <a:extLst>
              <a:ext uri="{FF2B5EF4-FFF2-40B4-BE49-F238E27FC236}">
                <a16:creationId xmlns:a16="http://schemas.microsoft.com/office/drawing/2014/main" id="{77F21D89-BD65-49EC-BDE0-20BFF3049240}"/>
              </a:ext>
            </a:extLst>
          </p:cNvPr>
          <p:cNvSpPr/>
          <p:nvPr/>
        </p:nvSpPr>
        <p:spPr>
          <a:xfrm rot="10800000">
            <a:off x="7339308" y="2500444"/>
            <a:ext cx="487017" cy="41744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13" name="圖片 12" descr="一張含有 文字 的圖片&#10;&#10;自動產生的描述">
            <a:extLst>
              <a:ext uri="{FF2B5EF4-FFF2-40B4-BE49-F238E27FC236}">
                <a16:creationId xmlns:a16="http://schemas.microsoft.com/office/drawing/2014/main" id="{82F1DC71-2778-4F00-AB57-0EAF2BFF1F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749" y="3812522"/>
            <a:ext cx="6839000" cy="2414605"/>
          </a:xfrm>
          <a:prstGeom prst="rect">
            <a:avLst/>
          </a:prstGeom>
        </p:spPr>
      </p:pic>
      <p:sp>
        <p:nvSpPr>
          <p:cNvPr id="14" name="投影片編號版面配置區 13">
            <a:extLst>
              <a:ext uri="{FF2B5EF4-FFF2-40B4-BE49-F238E27FC236}">
                <a16:creationId xmlns:a16="http://schemas.microsoft.com/office/drawing/2014/main" id="{CC5E88F6-8090-418E-A4C9-DDE534101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6BCEAB12-B06F-4271-97E5-A0FD2A16EAFB}"/>
              </a:ext>
            </a:extLst>
          </p:cNvPr>
          <p:cNvSpPr/>
          <p:nvPr/>
        </p:nvSpPr>
        <p:spPr>
          <a:xfrm>
            <a:off x="595284" y="316933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29762265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圖片 10" descr="一張含有 文字 的圖片&#10;&#10;自動產生的描述">
            <a:extLst>
              <a:ext uri="{FF2B5EF4-FFF2-40B4-BE49-F238E27FC236}">
                <a16:creationId xmlns:a16="http://schemas.microsoft.com/office/drawing/2014/main" id="{61246AFB-3B24-4558-B4EE-AFC2700679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360" y="920003"/>
            <a:ext cx="8554021" cy="5300461"/>
          </a:xfrm>
          <a:prstGeom prst="rect">
            <a:avLst/>
          </a:prstGeom>
        </p:spPr>
      </p:pic>
      <p:sp>
        <p:nvSpPr>
          <p:cNvPr id="8" name="矩形: 圓角 7">
            <a:extLst>
              <a:ext uri="{FF2B5EF4-FFF2-40B4-BE49-F238E27FC236}">
                <a16:creationId xmlns:a16="http://schemas.microsoft.com/office/drawing/2014/main" id="{14B8BA8C-A5D3-4076-A2E4-CE26AC4DF46C}"/>
              </a:ext>
            </a:extLst>
          </p:cNvPr>
          <p:cNvSpPr/>
          <p:nvPr/>
        </p:nvSpPr>
        <p:spPr>
          <a:xfrm>
            <a:off x="1307911" y="1542929"/>
            <a:ext cx="4977352" cy="702005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9" name="箭號: 向右 8">
            <a:extLst>
              <a:ext uri="{FF2B5EF4-FFF2-40B4-BE49-F238E27FC236}">
                <a16:creationId xmlns:a16="http://schemas.microsoft.com/office/drawing/2014/main" id="{77F21D89-BD65-49EC-BDE0-20BFF3049240}"/>
              </a:ext>
            </a:extLst>
          </p:cNvPr>
          <p:cNvSpPr/>
          <p:nvPr/>
        </p:nvSpPr>
        <p:spPr>
          <a:xfrm rot="10800000">
            <a:off x="6572745" y="1607946"/>
            <a:ext cx="487017" cy="41744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7" name="矩形: 圓角 6">
            <a:extLst>
              <a:ext uri="{FF2B5EF4-FFF2-40B4-BE49-F238E27FC236}">
                <a16:creationId xmlns:a16="http://schemas.microsoft.com/office/drawing/2014/main" id="{C3982F6C-34DC-4494-9F5A-23907312F071}"/>
              </a:ext>
            </a:extLst>
          </p:cNvPr>
          <p:cNvSpPr/>
          <p:nvPr/>
        </p:nvSpPr>
        <p:spPr>
          <a:xfrm>
            <a:off x="1307911" y="5112010"/>
            <a:ext cx="4977352" cy="702005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2" name="箭號: 向右 11">
            <a:extLst>
              <a:ext uri="{FF2B5EF4-FFF2-40B4-BE49-F238E27FC236}">
                <a16:creationId xmlns:a16="http://schemas.microsoft.com/office/drawing/2014/main" id="{5A6C9F3A-824D-46B8-90CF-BC77BBEA9CBF}"/>
              </a:ext>
            </a:extLst>
          </p:cNvPr>
          <p:cNvSpPr/>
          <p:nvPr/>
        </p:nvSpPr>
        <p:spPr>
          <a:xfrm rot="10800000">
            <a:off x="6572745" y="5177027"/>
            <a:ext cx="487017" cy="41744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20F41D5E-8257-45D8-84AB-1E8834952E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54F226C9-5B5B-4DC1-BAD8-7D04F212BFF4}"/>
              </a:ext>
            </a:extLst>
          </p:cNvPr>
          <p:cNvSpPr/>
          <p:nvPr/>
        </p:nvSpPr>
        <p:spPr>
          <a:xfrm>
            <a:off x="595284" y="316933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28965872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 descr="一張含有 文字 的圖片&#10;&#10;自動產生的描述">
            <a:extLst>
              <a:ext uri="{FF2B5EF4-FFF2-40B4-BE49-F238E27FC236}">
                <a16:creationId xmlns:a16="http://schemas.microsoft.com/office/drawing/2014/main" id="{24E517BE-72A7-4401-85B1-D239EBFA9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3804" y="1406468"/>
            <a:ext cx="12192000" cy="4231230"/>
          </a:xfrm>
          <a:prstGeom prst="rect">
            <a:avLst/>
          </a:prstGeom>
        </p:spPr>
      </p:pic>
      <p:sp>
        <p:nvSpPr>
          <p:cNvPr id="9" name="矩形: 圓角 8">
            <a:extLst>
              <a:ext uri="{FF2B5EF4-FFF2-40B4-BE49-F238E27FC236}">
                <a16:creationId xmlns:a16="http://schemas.microsoft.com/office/drawing/2014/main" id="{8AB62694-BCE8-41F4-A2D6-A0D6C84D4094}"/>
              </a:ext>
            </a:extLst>
          </p:cNvPr>
          <p:cNvSpPr/>
          <p:nvPr/>
        </p:nvSpPr>
        <p:spPr>
          <a:xfrm>
            <a:off x="4012474" y="4474506"/>
            <a:ext cx="4977352" cy="702005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0" name="箭號: 向右 9">
            <a:extLst>
              <a:ext uri="{FF2B5EF4-FFF2-40B4-BE49-F238E27FC236}">
                <a16:creationId xmlns:a16="http://schemas.microsoft.com/office/drawing/2014/main" id="{8F8248BD-FE05-421F-ABE1-9DBBD5F8FFCB}"/>
              </a:ext>
            </a:extLst>
          </p:cNvPr>
          <p:cNvSpPr/>
          <p:nvPr/>
        </p:nvSpPr>
        <p:spPr>
          <a:xfrm rot="10800000">
            <a:off x="9277308" y="4539523"/>
            <a:ext cx="487017" cy="41744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E00C6B70-3C1C-4E25-9813-4C82FE038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0544024A-8946-4622-A3B7-218308BC54D1}"/>
              </a:ext>
            </a:extLst>
          </p:cNvPr>
          <p:cNvSpPr/>
          <p:nvPr/>
        </p:nvSpPr>
        <p:spPr>
          <a:xfrm>
            <a:off x="595284" y="316933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35253221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091942"/>
            <a:ext cx="10515600" cy="3818703"/>
          </a:xfrm>
          <a:ln>
            <a:solidFill>
              <a:schemeClr val="bg1"/>
            </a:solidFill>
          </a:ln>
        </p:spPr>
      </p:pic>
      <p:sp>
        <p:nvSpPr>
          <p:cNvPr id="7" name="投影片編號版面配置區 6">
            <a:extLst>
              <a:ext uri="{FF2B5EF4-FFF2-40B4-BE49-F238E27FC236}">
                <a16:creationId xmlns:a16="http://schemas.microsoft.com/office/drawing/2014/main" id="{C8DAD19F-1068-42DF-A898-433CCFA363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內容版面配置區 2"/>
          <p:cNvSpPr txBox="1">
            <a:spLocks/>
          </p:cNvSpPr>
          <p:nvPr/>
        </p:nvSpPr>
        <p:spPr>
          <a:xfrm>
            <a:off x="598712" y="1510850"/>
            <a:ext cx="11593288" cy="13247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b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加拿大教師在線上課程平台中指定作業，並請學生完成作業後上傳（一週約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1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至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2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份作業），教師會給予評分與回饋，學生可依老師的回饋進行作業修正。</a:t>
            </a:r>
            <a:endParaRPr kumimoji="0" lang="en-US" altLang="zh-TW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b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Times New Roman" panose="02020603050405020304" pitchFamily="18" charset="0"/>
              </a:rPr>
              <a:t>學生亦可利用線上平臺進行師生互動，加拿大教師會進行一對一指導。</a:t>
            </a:r>
            <a:endParaRPr kumimoji="0" lang="en-US" altLang="zh-TW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b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TW" altLang="zh-TW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TW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Times New Roman" panose="02020603050405020304" pitchFamily="18" charset="0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4160F46-84BC-4202-A100-59E9BF677DAE}"/>
              </a:ext>
            </a:extLst>
          </p:cNvPr>
          <p:cNvSpPr/>
          <p:nvPr/>
        </p:nvSpPr>
        <p:spPr>
          <a:xfrm>
            <a:off x="10974218" y="3145073"/>
            <a:ext cx="506027" cy="1597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B2223DFE-E023-4CB8-B66C-08E87CB8B3B0}"/>
              </a:ext>
            </a:extLst>
          </p:cNvPr>
          <p:cNvSpPr/>
          <p:nvPr/>
        </p:nvSpPr>
        <p:spPr>
          <a:xfrm>
            <a:off x="3031663" y="4896394"/>
            <a:ext cx="575569" cy="17513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2" name="標題 2">
            <a:extLst>
              <a:ext uri="{FF2B5EF4-FFF2-40B4-BE49-F238E27FC236}">
                <a16:creationId xmlns:a16="http://schemas.microsoft.com/office/drawing/2014/main" id="{CFA7C44C-C030-4258-A1CE-8573AF1C9EEC}"/>
              </a:ext>
            </a:extLst>
          </p:cNvPr>
          <p:cNvSpPr txBox="1">
            <a:spLocks/>
          </p:cNvSpPr>
          <p:nvPr/>
        </p:nvSpPr>
        <p:spPr>
          <a:xfrm>
            <a:off x="4143375" y="577277"/>
            <a:ext cx="3912665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TW" alt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學生評量與回饋方式</a:t>
            </a:r>
          </a:p>
        </p:txBody>
      </p:sp>
      <p:cxnSp>
        <p:nvCxnSpPr>
          <p:cNvPr id="13" name="Google Shape;114;p8">
            <a:extLst>
              <a:ext uri="{FF2B5EF4-FFF2-40B4-BE49-F238E27FC236}">
                <a16:creationId xmlns:a16="http://schemas.microsoft.com/office/drawing/2014/main" id="{7001EDEA-2BAD-4BF6-8680-D26F49B3146D}"/>
              </a:ext>
            </a:extLst>
          </p:cNvPr>
          <p:cNvCxnSpPr/>
          <p:nvPr/>
        </p:nvCxnSpPr>
        <p:spPr>
          <a:xfrm>
            <a:off x="0" y="957291"/>
            <a:ext cx="1504950" cy="0"/>
          </a:xfrm>
          <a:prstGeom prst="straightConnector1">
            <a:avLst/>
          </a:prstGeom>
          <a:noFill/>
          <a:ln w="155575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4" name="內容版面配置區 3">
            <a:extLst>
              <a:ext uri="{FF2B5EF4-FFF2-40B4-BE49-F238E27FC236}">
                <a16:creationId xmlns:a16="http://schemas.microsoft.com/office/drawing/2014/main" id="{9C4669A8-A225-4324-9B22-26DCE6CAFDB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17" t="60331" b="20463"/>
          <a:stretch/>
        </p:blipFill>
        <p:spPr>
          <a:xfrm>
            <a:off x="3248025" y="4327243"/>
            <a:ext cx="8105775" cy="733425"/>
          </a:xfrm>
          <a:prstGeom prst="rect">
            <a:avLst/>
          </a:prstGeom>
          <a:ln>
            <a:noFill/>
          </a:ln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E8141820-B3AC-4DD4-AE65-F0F9BF33E86A}"/>
              </a:ext>
            </a:extLst>
          </p:cNvPr>
          <p:cNvSpPr/>
          <p:nvPr/>
        </p:nvSpPr>
        <p:spPr>
          <a:xfrm>
            <a:off x="2865715" y="4955598"/>
            <a:ext cx="8386762" cy="1218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pic>
        <p:nvPicPr>
          <p:cNvPr id="5" name="圖片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33" t="7147" b="51923"/>
          <a:stretch/>
        </p:blipFill>
        <p:spPr>
          <a:xfrm>
            <a:off x="9940119" y="4267744"/>
            <a:ext cx="1413681" cy="2204628"/>
          </a:xfrm>
          <a:prstGeom prst="rect">
            <a:avLst/>
          </a:prstGeom>
        </p:spPr>
      </p:pic>
      <p:sp>
        <p:nvSpPr>
          <p:cNvPr id="6" name="橢圓 5"/>
          <p:cNvSpPr/>
          <p:nvPr/>
        </p:nvSpPr>
        <p:spPr>
          <a:xfrm>
            <a:off x="9761713" y="3379337"/>
            <a:ext cx="1152128" cy="3384376"/>
          </a:xfrm>
          <a:prstGeom prst="ellipse">
            <a:avLst/>
          </a:prstGeom>
          <a:noFill/>
          <a:ln w="730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algun Gothic" panose="020B0503020000020004" pitchFamily="34" charset="-127"/>
              <a:ea typeface="Malgun Gothic" panose="020B0503020000020004" pitchFamily="34" charset="-127"/>
              <a:cs typeface="+mn-cs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B7A3E90-11B2-4BB6-A522-8391BC29E504}"/>
              </a:ext>
            </a:extLst>
          </p:cNvPr>
          <p:cNvSpPr/>
          <p:nvPr/>
        </p:nvSpPr>
        <p:spPr>
          <a:xfrm>
            <a:off x="3724275" y="4374356"/>
            <a:ext cx="419100" cy="242888"/>
          </a:xfrm>
          <a:prstGeom prst="rect">
            <a:avLst/>
          </a:prstGeom>
          <a:solidFill>
            <a:schemeClr val="bg1"/>
          </a:solidFill>
          <a:ln>
            <a:solidFill>
              <a:srgbClr val="0066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E6BF405-5BA8-44C1-88C7-F0F134EF24F3}"/>
              </a:ext>
            </a:extLst>
          </p:cNvPr>
          <p:cNvSpPr/>
          <p:nvPr/>
        </p:nvSpPr>
        <p:spPr>
          <a:xfrm>
            <a:off x="4364499" y="4398974"/>
            <a:ext cx="593263" cy="138113"/>
          </a:xfrm>
          <a:prstGeom prst="rect">
            <a:avLst/>
          </a:prstGeom>
          <a:solidFill>
            <a:schemeClr val="bg1"/>
          </a:solidFill>
          <a:ln>
            <a:solidFill>
              <a:srgbClr val="0066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38D1D662-2FAF-434D-9445-B6FF1AF62F2C}"/>
              </a:ext>
            </a:extLst>
          </p:cNvPr>
          <p:cNvSpPr/>
          <p:nvPr/>
        </p:nvSpPr>
        <p:spPr>
          <a:xfrm>
            <a:off x="10494741" y="2690731"/>
            <a:ext cx="419100" cy="138113"/>
          </a:xfrm>
          <a:prstGeom prst="rect">
            <a:avLst/>
          </a:prstGeom>
          <a:solidFill>
            <a:schemeClr val="bg1"/>
          </a:solidFill>
          <a:ln>
            <a:solidFill>
              <a:srgbClr val="0066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ABADA025-F3E3-485E-925D-7DD7E29DA890}"/>
              </a:ext>
            </a:extLst>
          </p:cNvPr>
          <p:cNvSpPr/>
          <p:nvPr/>
        </p:nvSpPr>
        <p:spPr>
          <a:xfrm>
            <a:off x="1172" y="503975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CB7A3E90-11B2-4BB6-A522-8391BC29E504}"/>
              </a:ext>
            </a:extLst>
          </p:cNvPr>
          <p:cNvSpPr/>
          <p:nvPr/>
        </p:nvSpPr>
        <p:spPr>
          <a:xfrm>
            <a:off x="3724274" y="3838779"/>
            <a:ext cx="356353" cy="242888"/>
          </a:xfrm>
          <a:prstGeom prst="rect">
            <a:avLst/>
          </a:prstGeom>
          <a:solidFill>
            <a:schemeClr val="bg1"/>
          </a:solidFill>
          <a:ln>
            <a:solidFill>
              <a:srgbClr val="0066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0E6BF405-5BA8-44C1-88C7-F0F134EF24F3}"/>
              </a:ext>
            </a:extLst>
          </p:cNvPr>
          <p:cNvSpPr/>
          <p:nvPr/>
        </p:nvSpPr>
        <p:spPr>
          <a:xfrm>
            <a:off x="4301752" y="3863397"/>
            <a:ext cx="593263" cy="138113"/>
          </a:xfrm>
          <a:prstGeom prst="rect">
            <a:avLst/>
          </a:prstGeom>
          <a:solidFill>
            <a:schemeClr val="bg1"/>
          </a:solidFill>
          <a:ln>
            <a:solidFill>
              <a:srgbClr val="0066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431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圖片 3" descr="一張含有 文字 的圖片&#10;&#10;自動產生的描述">
            <a:extLst>
              <a:ext uri="{FF2B5EF4-FFF2-40B4-BE49-F238E27FC236}">
                <a16:creationId xmlns:a16="http://schemas.microsoft.com/office/drawing/2014/main" id="{E76F20A8-591E-4683-98F5-B3E761DAA5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54478"/>
            <a:ext cx="12192000" cy="5549043"/>
          </a:xfrm>
          <a:prstGeom prst="rect">
            <a:avLst/>
          </a:prstGeom>
        </p:spPr>
      </p:pic>
      <p:sp>
        <p:nvSpPr>
          <p:cNvPr id="9" name="矩形: 圓角 8">
            <a:extLst>
              <a:ext uri="{FF2B5EF4-FFF2-40B4-BE49-F238E27FC236}">
                <a16:creationId xmlns:a16="http://schemas.microsoft.com/office/drawing/2014/main" id="{8AB62694-BCE8-41F4-A2D6-A0D6C84D4094}"/>
              </a:ext>
            </a:extLst>
          </p:cNvPr>
          <p:cNvSpPr/>
          <p:nvPr/>
        </p:nvSpPr>
        <p:spPr>
          <a:xfrm>
            <a:off x="3798931" y="5438185"/>
            <a:ext cx="4977352" cy="702005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0" name="箭號: 向右 9">
            <a:extLst>
              <a:ext uri="{FF2B5EF4-FFF2-40B4-BE49-F238E27FC236}">
                <a16:creationId xmlns:a16="http://schemas.microsoft.com/office/drawing/2014/main" id="{8F8248BD-FE05-421F-ABE1-9DBBD5F8FFCB}"/>
              </a:ext>
            </a:extLst>
          </p:cNvPr>
          <p:cNvSpPr/>
          <p:nvPr/>
        </p:nvSpPr>
        <p:spPr>
          <a:xfrm rot="10800000">
            <a:off x="8992585" y="5580465"/>
            <a:ext cx="487017" cy="41744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758EFC95-C153-408B-9B28-B400326F8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392B4822-250F-4C05-941A-EFE51CD55730}"/>
              </a:ext>
            </a:extLst>
          </p:cNvPr>
          <p:cNvSpPr/>
          <p:nvPr/>
        </p:nvSpPr>
        <p:spPr>
          <a:xfrm>
            <a:off x="0" y="0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22627665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>
            <a:extLst>
              <a:ext uri="{FF2B5EF4-FFF2-40B4-BE49-F238E27FC236}">
                <a16:creationId xmlns:a16="http://schemas.microsoft.com/office/drawing/2014/main" id="{6D36EB36-25F9-44FA-9BF9-14DB9D9C75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757" y="949142"/>
            <a:ext cx="10945423" cy="5683687"/>
          </a:xfrm>
          <a:prstGeom prst="rect">
            <a:avLst/>
          </a:prstGeom>
        </p:spPr>
      </p:pic>
      <p:sp>
        <p:nvSpPr>
          <p:cNvPr id="6" name="矩形: 圓角 5">
            <a:extLst>
              <a:ext uri="{FF2B5EF4-FFF2-40B4-BE49-F238E27FC236}">
                <a16:creationId xmlns:a16="http://schemas.microsoft.com/office/drawing/2014/main" id="{9B37B531-C208-4274-B017-544084846272}"/>
              </a:ext>
            </a:extLst>
          </p:cNvPr>
          <p:cNvSpPr/>
          <p:nvPr/>
        </p:nvSpPr>
        <p:spPr>
          <a:xfrm>
            <a:off x="474552" y="2721788"/>
            <a:ext cx="766536" cy="265175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7" name="箭號: 向右 6">
            <a:extLst>
              <a:ext uri="{FF2B5EF4-FFF2-40B4-BE49-F238E27FC236}">
                <a16:creationId xmlns:a16="http://schemas.microsoft.com/office/drawing/2014/main" id="{7C1A37F2-9985-4CF3-8C59-8E304E3F66F7}"/>
              </a:ext>
            </a:extLst>
          </p:cNvPr>
          <p:cNvSpPr/>
          <p:nvPr/>
        </p:nvSpPr>
        <p:spPr>
          <a:xfrm flipH="1">
            <a:off x="1430229" y="2576662"/>
            <a:ext cx="469752" cy="417443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0E07CB04-4AF5-48C5-9BDB-8927FE1234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7855DCCD-8AD9-4215-9EBB-F8BA4C5E33F8}"/>
              </a:ext>
            </a:extLst>
          </p:cNvPr>
          <p:cNvSpPr/>
          <p:nvPr/>
        </p:nvSpPr>
        <p:spPr>
          <a:xfrm>
            <a:off x="388757" y="187396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31416837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 descr="一張含有 桌 的圖片&#10;&#10;自動產生的描述">
            <a:extLst>
              <a:ext uri="{FF2B5EF4-FFF2-40B4-BE49-F238E27FC236}">
                <a16:creationId xmlns:a16="http://schemas.microsoft.com/office/drawing/2014/main" id="{1AE9B889-0B65-4C04-AF23-5810C2CF83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2860"/>
          <a:stretch/>
        </p:blipFill>
        <p:spPr>
          <a:xfrm>
            <a:off x="1398314" y="1245658"/>
            <a:ext cx="9542287" cy="5293522"/>
          </a:xfrm>
          <a:prstGeom prst="rect">
            <a:avLst/>
          </a:prstGeom>
        </p:spPr>
      </p:pic>
      <p:sp>
        <p:nvSpPr>
          <p:cNvPr id="5" name="投影片編號版面配置區 4">
            <a:extLst>
              <a:ext uri="{FF2B5EF4-FFF2-40B4-BE49-F238E27FC236}">
                <a16:creationId xmlns:a16="http://schemas.microsoft.com/office/drawing/2014/main" id="{CD9545AF-F14C-4302-88E9-7320F5164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4A16DF41-6006-4BA4-95BB-8D4DD2EC42B8}"/>
              </a:ext>
            </a:extLst>
          </p:cNvPr>
          <p:cNvSpPr/>
          <p:nvPr/>
        </p:nvSpPr>
        <p:spPr>
          <a:xfrm>
            <a:off x="482268" y="318820"/>
            <a:ext cx="3534927" cy="673100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線上教學學習平台</a:t>
            </a:r>
          </a:p>
        </p:txBody>
      </p:sp>
    </p:spTree>
    <p:extLst>
      <p:ext uri="{BB962C8B-B14F-4D97-AF65-F5344CB8AC3E}">
        <p14:creationId xmlns:p14="http://schemas.microsoft.com/office/powerpoint/2010/main" val="246839105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722ACF91-C66D-40F8-B1D2-81EB898E2374}"/>
              </a:ext>
            </a:extLst>
          </p:cNvPr>
          <p:cNvSpPr/>
          <p:nvPr/>
        </p:nvSpPr>
        <p:spPr>
          <a:xfrm>
            <a:off x="477998" y="308544"/>
            <a:ext cx="4045016" cy="673100"/>
          </a:xfrm>
          <a:prstGeom prst="rect">
            <a:avLst/>
          </a:prstGeom>
          <a:solidFill>
            <a:srgbClr val="0760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額外資源</a:t>
            </a:r>
            <a:r>
              <a:rPr lang="en-US" altLang="zh-TW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作業指南</a:t>
            </a:r>
          </a:p>
        </p:txBody>
      </p:sp>
      <p:pic>
        <p:nvPicPr>
          <p:cNvPr id="4" name="圖片 3" descr="一張含有 文字 的圖片&#10;&#10;自動產生的描述">
            <a:extLst>
              <a:ext uri="{FF2B5EF4-FFF2-40B4-BE49-F238E27FC236}">
                <a16:creationId xmlns:a16="http://schemas.microsoft.com/office/drawing/2014/main" id="{A0A9B8D6-D5BA-49AC-89B0-F681676455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92" y="1367278"/>
            <a:ext cx="5463513" cy="298800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圖片 5" descr="一張含有 文字 的圖片&#10;&#10;自動產生的描述">
            <a:extLst>
              <a:ext uri="{FF2B5EF4-FFF2-40B4-BE49-F238E27FC236}">
                <a16:creationId xmlns:a16="http://schemas.microsoft.com/office/drawing/2014/main" id="{9240610A-EE46-440D-9E64-DEF5C37AD8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5503" y="3547602"/>
            <a:ext cx="5185021" cy="300185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圖片 8" descr="一張含有 文字 的圖片&#10;&#10;自動產生的描述">
            <a:extLst>
              <a:ext uri="{FF2B5EF4-FFF2-40B4-BE49-F238E27FC236}">
                <a16:creationId xmlns:a16="http://schemas.microsoft.com/office/drawing/2014/main" id="{4EFF22A8-B516-4466-BD29-8F76474688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3459" y="2068337"/>
            <a:ext cx="4542342" cy="419014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圖片 10" descr="一張含有 文字 的圖片&#10;&#10;自動產生的描述">
            <a:extLst>
              <a:ext uri="{FF2B5EF4-FFF2-40B4-BE49-F238E27FC236}">
                <a16:creationId xmlns:a16="http://schemas.microsoft.com/office/drawing/2014/main" id="{C077FC22-ED07-4D4E-A896-8371D0F946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1634" y="981644"/>
            <a:ext cx="5072368" cy="27312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ADC0429A-5BF6-4249-AE83-47A426447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5710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6500EF0A-8370-41CE-A547-0403FCEA5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TW" altLang="en-US" dirty="0"/>
              <a:t>報告大綱</a:t>
            </a:r>
          </a:p>
        </p:txBody>
      </p:sp>
      <p:sp>
        <p:nvSpPr>
          <p:cNvPr id="3" name="內容版面配置區 2">
            <a:extLst>
              <a:ext uri="{FF2B5EF4-FFF2-40B4-BE49-F238E27FC236}">
                <a16:creationId xmlns:a16="http://schemas.microsoft.com/office/drawing/2014/main" id="{09696C15-C8AC-472A-85E3-DE6544C11A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7544" y="1331838"/>
            <a:ext cx="10856912" cy="3688189"/>
          </a:xfrm>
        </p:spPr>
        <p:txBody>
          <a:bodyPr wrap="square">
            <a:spAutoFit/>
          </a:bodyPr>
          <a:lstStyle/>
          <a:p>
            <a:pPr marL="171450" indent="-514350">
              <a:buClr>
                <a:srgbClr val="FF0000"/>
              </a:buClr>
              <a:buFont typeface="+mj-lt"/>
              <a:buAutoNum type="arabicPeriod"/>
            </a:pPr>
            <a:r>
              <a:rPr lang="zh-TW" altLang="en-US" sz="3200" b="1" dirty="0">
                <a:solidFill>
                  <a:schemeClr val="tx1"/>
                </a:solidFill>
              </a:rPr>
              <a:t>學區介紹</a:t>
            </a:r>
            <a:endParaRPr lang="en-US" altLang="zh-TW" sz="3200" b="1" dirty="0">
              <a:solidFill>
                <a:schemeClr val="tx1"/>
              </a:solidFill>
            </a:endParaRPr>
          </a:p>
          <a:p>
            <a:pPr marL="171450" indent="-514350">
              <a:buClr>
                <a:srgbClr val="FF0000"/>
              </a:buClr>
              <a:buFont typeface="+mj-lt"/>
              <a:buAutoNum type="arabicPeriod"/>
            </a:pPr>
            <a:r>
              <a:rPr lang="zh-TW" altLang="en-US" sz="3200" b="1" dirty="0">
                <a:solidFill>
                  <a:schemeClr val="tx1"/>
                </a:solidFill>
              </a:rPr>
              <a:t>雙聯學制課程介紹</a:t>
            </a:r>
            <a:endParaRPr lang="en-US" altLang="zh-TW" sz="3200" b="1" dirty="0">
              <a:solidFill>
                <a:schemeClr val="tx1"/>
              </a:solidFill>
            </a:endParaRPr>
          </a:p>
          <a:p>
            <a:pPr marL="171450" indent="-514350">
              <a:buClr>
                <a:srgbClr val="FF0000"/>
              </a:buClr>
              <a:buFont typeface="+mj-lt"/>
              <a:buAutoNum type="arabicPeriod"/>
            </a:pPr>
            <a:r>
              <a:rPr lang="zh-TW" altLang="en-US" sz="3200" b="1" dirty="0">
                <a:solidFill>
                  <a:schemeClr val="tx1"/>
                </a:solidFill>
              </a:rPr>
              <a:t>學分轉換與採認</a:t>
            </a:r>
            <a:endParaRPr lang="en-US" altLang="zh-TW" sz="3200" b="1" dirty="0">
              <a:solidFill>
                <a:schemeClr val="tx1"/>
              </a:solidFill>
            </a:endParaRPr>
          </a:p>
          <a:p>
            <a:pPr marL="171450" indent="-514350">
              <a:buClr>
                <a:srgbClr val="FF0000"/>
              </a:buClr>
              <a:buFont typeface="+mj-lt"/>
              <a:buAutoNum type="arabicPeriod"/>
            </a:pPr>
            <a:r>
              <a:rPr lang="zh-TW" altLang="en-US" sz="3200" b="1" dirty="0">
                <a:solidFill>
                  <a:schemeClr val="tx1"/>
                </a:solidFill>
              </a:rPr>
              <a:t>上課時間</a:t>
            </a:r>
            <a:endParaRPr lang="en-US" altLang="zh-TW" sz="3200" b="1" dirty="0">
              <a:solidFill>
                <a:schemeClr val="tx1"/>
              </a:solidFill>
            </a:endParaRPr>
          </a:p>
          <a:p>
            <a:pPr marL="171450" indent="-514350">
              <a:buClr>
                <a:srgbClr val="FF0000"/>
              </a:buClr>
              <a:buFont typeface="+mj-lt"/>
              <a:buAutoNum type="arabicPeriod"/>
            </a:pPr>
            <a:r>
              <a:rPr lang="zh-TW" altLang="en-US" sz="3200" b="1" dirty="0">
                <a:solidFill>
                  <a:schemeClr val="tx1"/>
                </a:solidFill>
              </a:rPr>
              <a:t>費用</a:t>
            </a:r>
            <a:endParaRPr lang="en-US" altLang="zh-TW" sz="3200" b="1" dirty="0">
              <a:solidFill>
                <a:schemeClr val="tx1"/>
              </a:solidFill>
            </a:endParaRPr>
          </a:p>
          <a:p>
            <a:pPr marL="171450" indent="-514350">
              <a:buClr>
                <a:srgbClr val="FF0000"/>
              </a:buClr>
              <a:buFont typeface="+mj-lt"/>
              <a:buAutoNum type="arabicPeriod"/>
            </a:pPr>
            <a:r>
              <a:rPr lang="en-US" altLang="zh-TW" sz="3200" b="1" dirty="0">
                <a:solidFill>
                  <a:schemeClr val="tx1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40993877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A4CC9CB6-4768-44FB-AA7E-0483CE45CD48}"/>
              </a:ext>
            </a:extLst>
          </p:cNvPr>
          <p:cNvSpPr/>
          <p:nvPr/>
        </p:nvSpPr>
        <p:spPr>
          <a:xfrm>
            <a:off x="569314" y="380194"/>
            <a:ext cx="4054480" cy="673100"/>
          </a:xfrm>
          <a:prstGeom prst="rect">
            <a:avLst/>
          </a:prstGeom>
          <a:solidFill>
            <a:srgbClr val="0760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額外資源</a:t>
            </a:r>
            <a:r>
              <a:rPr lang="en-US" altLang="zh-TW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作業範例</a:t>
            </a:r>
          </a:p>
        </p:txBody>
      </p:sp>
      <p:pic>
        <p:nvPicPr>
          <p:cNvPr id="6" name="圖片 5" descr="一張含有 文字 的圖片&#10;&#10;自動產生的描述">
            <a:extLst>
              <a:ext uri="{FF2B5EF4-FFF2-40B4-BE49-F238E27FC236}">
                <a16:creationId xmlns:a16="http://schemas.microsoft.com/office/drawing/2014/main" id="{9E9D8604-7BF1-4447-8015-8B2B9DC68C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09" y="3199404"/>
            <a:ext cx="4435485" cy="327840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圖片 3">
            <a:extLst>
              <a:ext uri="{FF2B5EF4-FFF2-40B4-BE49-F238E27FC236}">
                <a16:creationId xmlns:a16="http://schemas.microsoft.com/office/drawing/2014/main" id="{9ECD8DD1-B0C1-4E43-BF0D-0E7B5ECA98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8626" y="1678522"/>
            <a:ext cx="4896766" cy="274171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圖片 9" descr="一張含有 文字 的圖片&#10;&#10;自動產生的描述">
            <a:extLst>
              <a:ext uri="{FF2B5EF4-FFF2-40B4-BE49-F238E27FC236}">
                <a16:creationId xmlns:a16="http://schemas.microsoft.com/office/drawing/2014/main" id="{978D5F7C-D6D7-4A6F-A0B5-43C7F90E83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1414" y="1155129"/>
            <a:ext cx="4778838" cy="241764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圖片 11" descr="一張含有 文字 的圖片&#10;&#10;自動產生的描述">
            <a:extLst>
              <a:ext uri="{FF2B5EF4-FFF2-40B4-BE49-F238E27FC236}">
                <a16:creationId xmlns:a16="http://schemas.microsoft.com/office/drawing/2014/main" id="{93E4F66E-37BC-4034-801B-BE136211DD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392" y="3049377"/>
            <a:ext cx="4896766" cy="356279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CA256D37-F035-44F2-97A6-65C5CA7BF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7631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>
            <a:extLst>
              <a:ext uri="{FF2B5EF4-FFF2-40B4-BE49-F238E27FC236}">
                <a16:creationId xmlns:a16="http://schemas.microsoft.com/office/drawing/2014/main" id="{0B98CEAE-54F6-48FB-BE1B-89CBD12536B1}"/>
              </a:ext>
            </a:extLst>
          </p:cNvPr>
          <p:cNvSpPr/>
          <p:nvPr/>
        </p:nvSpPr>
        <p:spPr>
          <a:xfrm>
            <a:off x="595284" y="316933"/>
            <a:ext cx="4286006" cy="673100"/>
          </a:xfrm>
          <a:prstGeom prst="rect">
            <a:avLst/>
          </a:prstGeom>
          <a:solidFill>
            <a:srgbClr val="0760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額外資源</a:t>
            </a:r>
            <a:r>
              <a:rPr lang="en-US" altLang="zh-TW" sz="3200" b="1" dirty="0">
                <a:solidFill>
                  <a:prstClr val="white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kumimoji="0" lang="zh-TW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考試練習題</a:t>
            </a:r>
          </a:p>
        </p:txBody>
      </p:sp>
      <p:pic>
        <p:nvPicPr>
          <p:cNvPr id="10" name="圖片 9">
            <a:extLst>
              <a:ext uri="{FF2B5EF4-FFF2-40B4-BE49-F238E27FC236}">
                <a16:creationId xmlns:a16="http://schemas.microsoft.com/office/drawing/2014/main" id="{3853C3C1-8BCD-4CB4-A945-2306BE0388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887" y="1636651"/>
            <a:ext cx="3974267" cy="37325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圖片 11" descr="一張含有 文字 的圖片&#10;&#10;自動產生的描述">
            <a:extLst>
              <a:ext uri="{FF2B5EF4-FFF2-40B4-BE49-F238E27FC236}">
                <a16:creationId xmlns:a16="http://schemas.microsoft.com/office/drawing/2014/main" id="{4055BF4B-7848-4015-A705-472D711866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7785" y="3231400"/>
            <a:ext cx="4286007" cy="343550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圖片 14" descr="一張含有 文字 的圖片&#10;&#10;自動產生的描述">
            <a:extLst>
              <a:ext uri="{FF2B5EF4-FFF2-40B4-BE49-F238E27FC236}">
                <a16:creationId xmlns:a16="http://schemas.microsoft.com/office/drawing/2014/main" id="{CDCA3325-5BED-4085-958B-78EE58E327B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988" y="366192"/>
            <a:ext cx="5057169" cy="524212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圖片 10" descr="一張含有 文字 的圖片&#10;&#10;自動產生的描述">
            <a:extLst>
              <a:ext uri="{FF2B5EF4-FFF2-40B4-BE49-F238E27FC236}">
                <a16:creationId xmlns:a16="http://schemas.microsoft.com/office/drawing/2014/main" id="{AC78E194-04CB-4F4B-8BF9-7875ADAE61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0045" y="2371541"/>
            <a:ext cx="5323147" cy="43898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0512807D-FFA3-4322-BB7C-286463EA7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F1D276-8F64-497C-BC46-60B62A98F769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056980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4" name="Google Shape;24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95775" y="4000500"/>
            <a:ext cx="3203575" cy="2403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5" name="Google Shape;245;p1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751763" y="4027488"/>
            <a:ext cx="3240087" cy="2430462"/>
          </a:xfrm>
          <a:prstGeom prst="rect">
            <a:avLst/>
          </a:prstGeom>
          <a:noFill/>
          <a:ln>
            <a:noFill/>
          </a:ln>
        </p:spPr>
      </p:pic>
      <p:pic>
        <p:nvPicPr>
          <p:cNvPr id="246" name="Google Shape;246;p14"/>
          <p:cNvPicPr preferRelativeResize="0"/>
          <p:nvPr/>
        </p:nvPicPr>
        <p:blipFill rotWithShape="1">
          <a:blip r:embed="rId5">
            <a:alphaModFix/>
          </a:blip>
          <a:srcRect b="40573"/>
          <a:stretch/>
        </p:blipFill>
        <p:spPr>
          <a:xfrm>
            <a:off x="1125538" y="1668463"/>
            <a:ext cx="4732337" cy="2108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7" name="Google Shape;247;p1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38200" y="3952875"/>
            <a:ext cx="3203575" cy="2403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8" name="Google Shape;248;p14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167438" y="1655763"/>
            <a:ext cx="4386262" cy="21209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31214026-4B90-4F2C-A4BF-C638ED921E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課程實錄</a:t>
            </a:r>
          </a:p>
        </p:txBody>
      </p:sp>
    </p:spTree>
  </p:cSld>
  <p:clrMapOvr>
    <a:masterClrMapping/>
  </p:clrMapOvr>
  <p:transition spd="med"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5" name="Google Shape;255;p15" descr="一張含有 個人, 室內, 天花板, 人 的圖片&#10;&#10;自動產生的描述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486400" y="2147888"/>
            <a:ext cx="5408613" cy="4056062"/>
          </a:xfrm>
          <a:prstGeom prst="rect">
            <a:avLst/>
          </a:prstGeom>
          <a:noFill/>
          <a:ln>
            <a:noFill/>
          </a:ln>
        </p:spPr>
      </p:pic>
      <p:pic>
        <p:nvPicPr>
          <p:cNvPr id="256" name="Google Shape;256;p1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967663" y="542925"/>
            <a:ext cx="3413125" cy="2557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257" name="Google Shape;257;p15" descr="一張含有 文字, 地板, 室內, 桌 的圖片&#10;&#10;自動產生的描述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44500" y="1336675"/>
            <a:ext cx="5184775" cy="388778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00226A86-FE51-4598-A490-932B32B25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課程實錄</a:t>
            </a:r>
          </a:p>
        </p:txBody>
      </p:sp>
    </p:spTree>
  </p:cSld>
  <p:clrMapOvr>
    <a:masterClrMapping/>
  </p:clrMapOvr>
  <p:transition spd="med">
    <p:fad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" name="Google Shape;270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167438" y="2492375"/>
            <a:ext cx="5041900" cy="3781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71" name="Google Shape;271;p17" descr="一張含有 文字, 個人, 室內, 膝上型電腦 的圖片&#10;&#10;自動產生的描述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41338" y="1504950"/>
            <a:ext cx="5483225" cy="411321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標題 1">
            <a:extLst>
              <a:ext uri="{FF2B5EF4-FFF2-40B4-BE49-F238E27FC236}">
                <a16:creationId xmlns:a16="http://schemas.microsoft.com/office/drawing/2014/main" id="{A5421732-B02A-49D8-9072-E99AB8F2A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課程實錄</a:t>
            </a:r>
          </a:p>
        </p:txBody>
      </p:sp>
    </p:spTree>
  </p:cSld>
  <p:clrMapOvr>
    <a:masterClrMapping/>
  </p:clrMapOvr>
  <p:transition spd="med"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5</a:t>
            </a:fld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78" name="Google Shape;278;p9"/>
          <p:cNvSpPr txBox="1">
            <a:spLocks noGrp="1"/>
          </p:cNvSpPr>
          <p:nvPr>
            <p:ph type="title"/>
          </p:nvPr>
        </p:nvSpPr>
        <p:spPr>
          <a:xfrm>
            <a:off x="4429455" y="2334985"/>
            <a:ext cx="6705600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306000" lvl="0" indent="-306000">
              <a:spcBef>
                <a:spcPts val="1080"/>
              </a:spcBef>
              <a:buSzPts val="2208"/>
            </a:pPr>
            <a:r>
              <a:rPr lang="zh-TW" altLang="en-US" sz="5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學分轉換與採認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EA2B36B3-96F9-4E27-B1EB-90264FB56B68}"/>
              </a:ext>
            </a:extLst>
          </p:cNvPr>
          <p:cNvSpPr txBox="1"/>
          <p:nvPr/>
        </p:nvSpPr>
        <p:spPr>
          <a:xfrm>
            <a:off x="4429455" y="3651294"/>
            <a:ext cx="53694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24 Credit Program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89841D9-C3C9-463E-AEDC-0E13102105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79166" y="2238735"/>
            <a:ext cx="2205037" cy="220503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FD41AA68-A57B-4A31-9D29-1CC323FEA935}"/>
              </a:ext>
            </a:extLst>
          </p:cNvPr>
          <p:cNvSpPr txBox="1"/>
          <p:nvPr/>
        </p:nvSpPr>
        <p:spPr>
          <a:xfrm>
            <a:off x="2332256" y="2956532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4400" dirty="0">
                <a:solidFill>
                  <a:prstClr val="white"/>
                </a:solidFill>
                <a:latin typeface="Calibri" panose="020F0502020204030204"/>
                <a:ea typeface="新細明體" panose="02020500000000000000" pitchFamily="18" charset="-120"/>
              </a:rPr>
              <a:t>3</a:t>
            </a:r>
            <a:endParaRPr kumimoji="0" lang="zh-TW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cxnSp>
        <p:nvCxnSpPr>
          <p:cNvPr id="7" name="Google Shape;114;p8">
            <a:extLst>
              <a:ext uri="{FF2B5EF4-FFF2-40B4-BE49-F238E27FC236}">
                <a16:creationId xmlns:a16="http://schemas.microsoft.com/office/drawing/2014/main" id="{BF7DDB74-A377-4B05-BCB7-0F386928D814}"/>
              </a:ext>
            </a:extLst>
          </p:cNvPr>
          <p:cNvCxnSpPr/>
          <p:nvPr/>
        </p:nvCxnSpPr>
        <p:spPr>
          <a:xfrm>
            <a:off x="4500212" y="4293960"/>
            <a:ext cx="1504950" cy="0"/>
          </a:xfrm>
          <a:prstGeom prst="straightConnector1">
            <a:avLst/>
          </a:prstGeom>
          <a:noFill/>
          <a:ln w="155575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82488798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9CA920E6-9BB8-4575-8B3F-C561BEE92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62BE5A-CBB9-44A7-BF20-25B101CB6363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graphicFrame>
        <p:nvGraphicFramePr>
          <p:cNvPr id="5" name="object 5">
            <a:extLst>
              <a:ext uri="{FF2B5EF4-FFF2-40B4-BE49-F238E27FC236}">
                <a16:creationId xmlns:a16="http://schemas.microsoft.com/office/drawing/2014/main" id="{0DF35EAD-FFBD-4ACC-8050-4856B674BB08}"/>
              </a:ext>
            </a:extLst>
          </p:cNvPr>
          <p:cNvGraphicFramePr>
            <a:graphicFrameLocks noGrp="1"/>
          </p:cNvGraphicFramePr>
          <p:nvPr/>
        </p:nvGraphicFramePr>
        <p:xfrm>
          <a:off x="2228068" y="1483531"/>
          <a:ext cx="8054976" cy="453404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849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849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849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57856"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800" b="1" spc="-16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年級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2700" algn="ctr">
                        <a:lnSpc>
                          <a:spcPct val="100000"/>
                        </a:lnSpc>
                      </a:pP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累計修業至少</a:t>
                      </a:r>
                      <a:r>
                        <a:rPr sz="1800" b="1" spc="-6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5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</a:t>
                      </a:r>
                      <a:r>
                        <a:rPr sz="1800" b="1" spc="-14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分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Droid Sans Fallback"/>
                      </a:endParaRPr>
                    </a:p>
                  </a:txBody>
                  <a:tcPr marL="0" marR="0" marT="34918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800" b="1" spc="-16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年級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3335" algn="ctr">
                        <a:lnSpc>
                          <a:spcPct val="100000"/>
                        </a:lnSpc>
                      </a:pP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累計修業至少</a:t>
                      </a:r>
                      <a:r>
                        <a:rPr sz="1800" b="1" spc="-6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5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6</a:t>
                      </a:r>
                      <a:r>
                        <a:rPr sz="1800" b="1" spc="-15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分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Droid Sans Fallback"/>
                      </a:endParaRPr>
                    </a:p>
                  </a:txBody>
                  <a:tcPr marL="0" marR="0" marT="34918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lang="en-US" altLang="zh-TW" sz="1800" b="1" spc="-16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</a:t>
                      </a: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年級</a:t>
                      </a:r>
                      <a:endParaRPr lang="zh-TW" altLang="en-US"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3970" algn="ctr">
                        <a:lnSpc>
                          <a:spcPct val="100000"/>
                        </a:lnSpc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累計修業至少</a:t>
                      </a:r>
                      <a:r>
                        <a:rPr lang="zh-TW" altLang="en-US" sz="1800" b="1" spc="-6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800" b="1" spc="-15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4</a:t>
                      </a:r>
                      <a:r>
                        <a:rPr lang="zh-TW" altLang="en-US" sz="1800" b="1" spc="-15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分</a:t>
                      </a:r>
                      <a:endParaRPr lang="zh-TW" altLang="en-US"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2700" algn="ctr">
                        <a:lnSpc>
                          <a:spcPct val="100000"/>
                        </a:lnSpc>
                      </a:pPr>
                      <a:r>
                        <a:rPr lang="en-US" altLang="zh-TW" sz="1800" b="1" spc="-12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</a:t>
                      </a:r>
                      <a:r>
                        <a:rPr lang="zh-TW" altLang="en-US" sz="1800" b="1" spc="-15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必須</a:t>
                      </a:r>
                      <a:r>
                        <a:rPr lang="zh-TW" altLang="en-US" sz="1800" b="1" spc="-7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800" b="1" spc="-15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800" b="1" spc="-15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分為</a:t>
                      </a:r>
                      <a:r>
                        <a:rPr lang="zh-TW" altLang="en-US" sz="1800" b="1" spc="-6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800" b="1" spc="-114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level</a:t>
                      </a:r>
                      <a:r>
                        <a:rPr lang="zh-TW" altLang="en-US" sz="1800" b="1" spc="-16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800" b="1" spc="-15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Droid Sans Fallback"/>
                      </a:endParaRPr>
                    </a:p>
                  </a:txBody>
                  <a:tcPr marL="0" marR="0" marT="34918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必修課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程</a:t>
                      </a: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：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39361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必修課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程</a:t>
                      </a: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：</a:t>
                      </a:r>
                      <a:endParaRPr sz="1800" b="1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39361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7"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必修課程： </a:t>
                      </a:r>
                      <a:endParaRPr lang="en-US" altLang="zh-TW"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4604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altLang="zh-TW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</a:t>
                      </a:r>
                    </a:p>
                    <a:p>
                      <a:pPr marL="14604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altLang="zh-TW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</a:t>
                      </a:r>
                    </a:p>
                    <a:p>
                      <a:pPr marL="14604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4604" algn="ctr">
                        <a:lnSpc>
                          <a:spcPct val="100000"/>
                        </a:lnSpc>
                        <a:spcBef>
                          <a:spcPts val="309"/>
                        </a:spcBef>
                      </a:pP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 </a:t>
                      </a:r>
                      <a:r>
                        <a:rPr lang="en-US" altLang="zh-TW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 </a:t>
                      </a: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研究</a:t>
                      </a:r>
                    </a:p>
                  </a:txBody>
                  <a:tcPr marL="0" marR="0" marT="39361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1430" algn="ctr">
                        <a:lnSpc>
                          <a:spcPts val="2205"/>
                        </a:lnSpc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 </a:t>
                      </a: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ts val="2205"/>
                        </a:lnSpc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  <a:endParaRPr sz="1800" b="1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3335" algn="ctr">
                        <a:lnSpc>
                          <a:spcPts val="2205"/>
                        </a:lnSpc>
                      </a:pPr>
                      <a:endParaRPr sz="180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4141"/>
                      </a:solidFill>
                      <a:prstDash val="solid"/>
                    </a:lnR>
                    <a:solidFill>
                      <a:srgbClr val="D4DB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1430" algn="ctr">
                        <a:lnSpc>
                          <a:spcPts val="2205"/>
                        </a:lnSpc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 </a:t>
                      </a: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4141"/>
                      </a:solidFill>
                      <a:prstDash val="solid"/>
                    </a:lnR>
                    <a:solidFill>
                      <a:srgbClr val="D4DB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ts val="2205"/>
                        </a:lnSpc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學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13335" algn="ctr">
                        <a:lnSpc>
                          <a:spcPts val="2205"/>
                        </a:lnSpc>
                      </a:pPr>
                      <a:endParaRPr sz="18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4141"/>
                      </a:solidFill>
                      <a:prstDash val="solid"/>
                    </a:lnR>
                    <a:solidFill>
                      <a:srgbClr val="D4DB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ctr">
                        <a:lnSpc>
                          <a:spcPts val="2205"/>
                        </a:lnSpc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</a:t>
                      </a:r>
                      <a:r>
                        <a:rPr sz="1800" b="1" spc="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會</a:t>
                      </a:r>
                      <a:r>
                        <a:rPr sz="1800" b="1" spc="-2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  <a:endParaRPr sz="1800" b="1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4141"/>
                      </a:solidFill>
                      <a:prstDash val="solid"/>
                    </a:lnR>
                    <a:solidFill>
                      <a:srgbClr val="D4DB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ctr">
                        <a:lnSpc>
                          <a:spcPts val="2205"/>
                        </a:lnSpc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自然科學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4141"/>
                      </a:solidFill>
                      <a:prstDash val="solid"/>
                    </a:lnR>
                    <a:solidFill>
                      <a:srgbClr val="D4DB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ctr">
                        <a:lnSpc>
                          <a:spcPts val="2205"/>
                        </a:lnSpc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學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004141"/>
                      </a:solidFill>
                      <a:prstDash val="solid"/>
                    </a:lnR>
                    <a:lnB w="12700" cap="flat" cmpd="sng" algn="ctr">
                      <a:solidFill>
                        <a:srgbClr val="0041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E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5528">
                <a:tc>
                  <a:txBody>
                    <a:bodyPr/>
                    <a:lstStyle/>
                    <a:p>
                      <a:pPr algn="ctr"/>
                      <a:r>
                        <a:rPr lang="en-US" altLang="zh-TW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/20/30</a:t>
                      </a:r>
                      <a:r>
                        <a:rPr lang="zh-TW" altLang="en-US"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任選</a:t>
                      </a:r>
                      <a:r>
                        <a:rPr lang="zh-TW" altLang="en-US"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altLang="zh-TW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</a:t>
                      </a:r>
                      <a:r>
                        <a:rPr lang="zh-TW" altLang="en-US" sz="1800" b="1" spc="-1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zh-TW" altLang="en-US"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門</a:t>
                      </a:r>
                      <a:endParaRPr lang="zh-TW" alt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自然科學</a:t>
                      </a:r>
                      <a:r>
                        <a:rPr sz="1800" b="1" spc="-1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/3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39362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5943">
                <a:tc row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/3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39362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5943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004141"/>
                      </a:solidFill>
                      <a:prstDash val="solid"/>
                    </a:lnL>
                    <a:lnR w="12700">
                      <a:solidFill>
                        <a:srgbClr val="004141"/>
                      </a:solidFill>
                      <a:prstDash val="solid"/>
                    </a:lnR>
                    <a:lnB w="12700">
                      <a:solidFill>
                        <a:srgbClr val="004141"/>
                      </a:solidFill>
                      <a:prstDash val="solid"/>
                    </a:lnB>
                    <a:solidFill>
                      <a:srgbClr val="D4DBE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10"/>
                        </a:spcBef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6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門選修</a:t>
                      </a:r>
                      <a:r>
                        <a:rPr sz="1800" b="1" spc="-1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/3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39362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45529">
                <a:tc gridSpan="3"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門藝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術</a:t>
                      </a: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教</a:t>
                      </a:r>
                      <a:r>
                        <a:rPr sz="1800" b="1" spc="-1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育</a:t>
                      </a: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/20/3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39997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45943">
                <a:tc gridSpan="3"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體育10/20/3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Noto Sans Mono CJK JP Regular"/>
                      </a:endParaRPr>
                    </a:p>
                  </a:txBody>
                  <a:tcPr marL="0" marR="0" marT="39997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6" name="標題 4">
            <a:extLst>
              <a:ext uri="{FF2B5EF4-FFF2-40B4-BE49-F238E27FC236}">
                <a16:creationId xmlns:a16="http://schemas.microsoft.com/office/drawing/2014/main" id="{06D9E474-D21E-4573-ACEC-73ABB1C09647}"/>
              </a:ext>
            </a:extLst>
          </p:cNvPr>
          <p:cNvSpPr txBox="1">
            <a:spLocks/>
          </p:cNvSpPr>
          <p:nvPr/>
        </p:nvSpPr>
        <p:spPr>
          <a:xfrm>
            <a:off x="1547884" y="5897562"/>
            <a:ext cx="9697871" cy="9604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加拿大高中為學分制，一門課為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1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學分，取得畢業證書為加拿大及海外大學所承認</a:t>
            </a:r>
            <a:endParaRPr kumimoji="0" lang="zh-TW" altLang="en-US" sz="4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j-cs"/>
            </a:endParaRP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FF23A94E-0972-40F2-86F0-6E97FE677F2F}"/>
              </a:ext>
            </a:extLst>
          </p:cNvPr>
          <p:cNvSpPr txBox="1"/>
          <p:nvPr/>
        </p:nvSpPr>
        <p:spPr>
          <a:xfrm>
            <a:off x="3700818" y="536517"/>
            <a:ext cx="6281382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zh-TW"/>
            </a:defPPr>
            <a:lvl1pPr marR="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4000" b="1" i="0" u="none" strike="noStrike" kern="0" cap="none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defRPr>
            </a:lvl1pPr>
            <a:lvl2pPr marR="0"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 marR="0"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 marR="0"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 marR="0"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 marR="0"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 marR="0"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 marR="0"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 marR="0"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TW" alt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薩省畢業門檻</a:t>
            </a:r>
            <a:r>
              <a:rPr kumimoji="0" lang="en-US" altLang="zh-TW" sz="4000" b="1" i="0" u="none" strike="noStrike" kern="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24</a:t>
            </a:r>
            <a:r>
              <a:rPr kumimoji="0" lang="zh-TW" alt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</a:rPr>
              <a:t>學分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31D7845C-87E6-4861-89C5-D4C9E527F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CA079C-E901-4978-B060-35552B9DDC97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graphicFrame>
        <p:nvGraphicFramePr>
          <p:cNvPr id="6" name="object 6">
            <a:extLst>
              <a:ext uri="{FF2B5EF4-FFF2-40B4-BE49-F238E27FC236}">
                <a16:creationId xmlns:a16="http://schemas.microsoft.com/office/drawing/2014/main" id="{D840DC10-A8BD-4CEC-AF7D-D553B87356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24500"/>
              </p:ext>
            </p:extLst>
          </p:nvPr>
        </p:nvGraphicFramePr>
        <p:xfrm>
          <a:off x="6621616" y="1923691"/>
          <a:ext cx="5203439" cy="32792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30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733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05441">
                <a:tc>
                  <a:txBody>
                    <a:bodyPr/>
                    <a:lstStyle/>
                    <a:p>
                      <a:pPr marL="81216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800" b="1" spc="-5" dirty="0">
                          <a:solidFill>
                            <a:srgbClr val="00414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必修課程</a:t>
                      </a:r>
                      <a:endParaRPr sz="18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Droid Sans Fallback"/>
                      </a:endParaRPr>
                    </a:p>
                  </a:txBody>
                  <a:tcPr marL="0" marR="0" marT="34925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42315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800" b="1" spc="-5" dirty="0">
                          <a:solidFill>
                            <a:srgbClr val="00414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為達畢業門檻</a:t>
                      </a:r>
                      <a:endParaRPr sz="18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Droid Sans Fallback"/>
                      </a:endParaRPr>
                    </a:p>
                  </a:txBody>
                  <a:tcPr marL="0" marR="0" marT="34925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63638"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sym typeface="Wingdings" panose="05000000000000000000" pitchFamily="2" charset="2"/>
                        </a:rPr>
                        <a:t>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</a:t>
                      </a:r>
                      <a:r>
                        <a:rPr sz="1800" b="1" spc="-114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  <a:r>
                        <a:rPr sz="1800" b="1" spc="-14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7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3970" algn="ctr">
                        <a:lnSpc>
                          <a:spcPct val="100000"/>
                        </a:lnSpc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sym typeface="Wingdings" panose="05000000000000000000" pitchFamily="2" charset="2"/>
                        </a:rPr>
                        <a:t>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</a:t>
                      </a:r>
                      <a:r>
                        <a:rPr sz="1800" b="1" spc="-12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  <a:r>
                        <a:rPr sz="1800" b="1" spc="-14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24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3335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sym typeface="Wingdings" panose="05000000000000000000" pitchFamily="2" charset="2"/>
                        </a:rPr>
                        <a:t>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</a:t>
                      </a:r>
                      <a:r>
                        <a:rPr sz="1800" b="1" spc="-8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  <a:r>
                        <a:rPr sz="1800" b="1" spc="-10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6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</a:t>
                      </a: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暑修</a:t>
                      </a:r>
                      <a:r>
                        <a:rPr sz="1800" b="1" spc="-6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3335" algn="ctr">
                        <a:lnSpc>
                          <a:spcPct val="100000"/>
                        </a:lnSpc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sym typeface="Wingdings" panose="05000000000000000000" pitchFamily="2" charset="2"/>
                        </a:rPr>
                        <a:t></a:t>
                      </a:r>
                      <a:r>
                        <a:rPr sz="1800" b="1" spc="-10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文</a:t>
                      </a:r>
                      <a:r>
                        <a:rPr sz="1800" b="1" spc="-114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  <a:r>
                        <a:rPr sz="1800" b="1" spc="-14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7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397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sym typeface="Wingdings" panose="05000000000000000000" pitchFamily="2" charset="2"/>
                        </a:rPr>
                        <a:t>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</a:t>
                      </a:r>
                      <a:r>
                        <a:rPr sz="1800" b="1" spc="-12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  <a:r>
                        <a:rPr sz="1800" b="1" spc="-14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24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3970" algn="ctr">
                        <a:lnSpc>
                          <a:spcPct val="100000"/>
                        </a:lnSpc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sym typeface="Wingdings" panose="05000000000000000000" pitchFamily="2" charset="2"/>
                        </a:rPr>
                        <a:t>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</a:t>
                      </a:r>
                      <a:r>
                        <a:rPr sz="1800" b="1" spc="-8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Arial"/>
                      </a:endParaRPr>
                    </a:p>
                  </a:txBody>
                  <a:tcPr marL="0" marR="0" marT="34925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81025" marR="559435" algn="l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需</a:t>
                      </a:r>
                      <a:r>
                        <a:rPr sz="1800" b="1" spc="-10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kern="120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L</a:t>
                      </a:r>
                      <a:r>
                        <a:rPr lang="en-US" sz="1800" b="1" kern="120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evel</a:t>
                      </a:r>
                      <a:r>
                        <a:rPr sz="1800" b="1" kern="120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 30</a:t>
                      </a:r>
                      <a:r>
                        <a:rPr lang="zh-TW" altLang="en-US" sz="1800" b="1" spc="-10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二</a:t>
                      </a: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門</a:t>
                      </a:r>
                      <a:endParaRPr lang="en-US" altLang="zh-TW" sz="1800" b="1" spc="-5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581025" marR="55943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sym typeface="Wingdings" panose="05000000000000000000" pitchFamily="2" charset="2"/>
                        </a:rPr>
                        <a:t>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選修</a:t>
                      </a:r>
                      <a:r>
                        <a:rPr sz="1800" b="1" spc="-8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  <a:endParaRPr lang="en-US" sz="1800" b="1" spc="0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581025" marR="559435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lang="zh-TW" altLang="en-US" sz="1800" b="1" spc="-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sym typeface="Wingdings" panose="05000000000000000000" pitchFamily="2" charset="2"/>
                        </a:rPr>
                        <a:t>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選修</a:t>
                      </a:r>
                      <a:r>
                        <a:rPr sz="1800" b="1" spc="-160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sz="1800" b="1" spc="-10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  <a:endParaRPr sz="1800" b="1" dirty="0">
                        <a:solidFill>
                          <a:schemeClr val="tx1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0" marR="0" marT="34925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0199">
                <a:tc gridSpan="2"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275"/>
                        </a:spcBef>
                      </a:pPr>
                      <a:r>
                        <a:rPr sz="1800" b="1" spc="-10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合</a:t>
                      </a:r>
                      <a:r>
                        <a:rPr sz="1800" b="1" spc="-5" dirty="0" err="1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計</a:t>
                      </a:r>
                      <a:r>
                        <a:rPr sz="1800" b="1" spc="-75" dirty="0"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</a:t>
                      </a:r>
                      <a:r>
                        <a:rPr lang="en-US" sz="1800" b="1" kern="1200" dirty="0">
                          <a:solidFill>
                            <a:schemeClr val="dk1"/>
                          </a:solidFill>
                          <a:highlight>
                            <a:srgbClr val="FFF364"/>
                          </a:highlight>
                          <a:latin typeface="Microsoft JhengHei"/>
                          <a:ea typeface="Microsoft JhengHei"/>
                          <a:cs typeface="+mn-cs"/>
                        </a:rPr>
                        <a:t>8</a:t>
                      </a:r>
                      <a:r>
                        <a:rPr sz="1800" b="1" kern="1200" dirty="0">
                          <a:solidFill>
                            <a:schemeClr val="dk1"/>
                          </a:solidFill>
                          <a:highlight>
                            <a:srgbClr val="FFF364"/>
                          </a:highlight>
                          <a:latin typeface="Microsoft JhengHei"/>
                          <a:ea typeface="Microsoft JhengHei"/>
                          <a:cs typeface="+mn-cs"/>
                        </a:rPr>
                        <a:t>門學分</a:t>
                      </a:r>
                    </a:p>
                  </a:txBody>
                  <a:tcPr marL="0" marR="0" marT="34925" marB="0"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" name="表格 7">
            <a:extLst>
              <a:ext uri="{FF2B5EF4-FFF2-40B4-BE49-F238E27FC236}">
                <a16:creationId xmlns:a16="http://schemas.microsoft.com/office/drawing/2014/main" id="{169F0215-1CA3-49E8-BEAA-F332D3C328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1690108"/>
              </p:ext>
            </p:extLst>
          </p:nvPr>
        </p:nvGraphicFramePr>
        <p:xfrm>
          <a:off x="647461" y="1923691"/>
          <a:ext cx="5632569" cy="34116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77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75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75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408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spc="-5" dirty="0">
                          <a:solidFill>
                            <a:srgbClr val="00414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級別學分轉換</a:t>
                      </a:r>
                      <a:endParaRPr lang="zh-TW" altLang="en-US" sz="18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Droid Sans Fallback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spc="-5" dirty="0">
                          <a:solidFill>
                            <a:srgbClr val="00414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科目</a:t>
                      </a:r>
                      <a:endParaRPr lang="zh-TW" altLang="en-US" sz="18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Droid Sans Fallback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Level 10</a:t>
                      </a:r>
                    </a:p>
                    <a:p>
                      <a:pPr algn="ctr"/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8 </a:t>
                      </a:r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門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台灣高一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中文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第二外語英文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 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學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自然科學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 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藝術教育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 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體育 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生活應用 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5986">
                <a:tc>
                  <a:txBody>
                    <a:bodyPr/>
                    <a:lstStyle/>
                    <a:p>
                      <a:pPr algn="ctr"/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Level 20</a:t>
                      </a:r>
                    </a:p>
                    <a:p>
                      <a:pPr algn="ctr"/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9 </a:t>
                      </a:r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門 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台灣高二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中文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第二外語英文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 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學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 </a:t>
                      </a:r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選修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自然科學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 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藝術教育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 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體育 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生活應用 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0</a:t>
                      </a:r>
                      <a:endParaRPr lang="zh-TW" altLang="en-US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2163">
                <a:tc gridSpan="3">
                  <a:txBody>
                    <a:bodyPr/>
                    <a:lstStyle/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合計轉換 </a:t>
                      </a:r>
                      <a:r>
                        <a:rPr lang="en-US" altLang="zh-TW" sz="1800" b="1" kern="1200" dirty="0">
                          <a:solidFill>
                            <a:schemeClr val="dk1"/>
                          </a:solidFill>
                          <a:highlight>
                            <a:srgbClr val="FFF364"/>
                          </a:highlight>
                          <a:latin typeface="Microsoft JhengHei"/>
                          <a:ea typeface="Microsoft JhengHei"/>
                        </a:rPr>
                        <a:t>17 </a:t>
                      </a:r>
                      <a:r>
                        <a:rPr lang="zh-TW" altLang="en-US" sz="1800" b="1" kern="1200" dirty="0">
                          <a:solidFill>
                            <a:schemeClr val="dk1"/>
                          </a:solidFill>
                          <a:highlight>
                            <a:srgbClr val="FFF364"/>
                          </a:highlight>
                          <a:latin typeface="Microsoft JhengHei"/>
                          <a:ea typeface="Microsoft JhengHei"/>
                        </a:rPr>
                        <a:t>門學分</a:t>
                      </a:r>
                    </a:p>
                    <a:p>
                      <a:pPr algn="ctr"/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* 以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7</a:t>
                      </a:r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台北市公立高中三年課程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1,2,3</a:t>
                      </a:r>
                      <a:r>
                        <a:rPr lang="zh-TW" altLang="en-US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類組</a:t>
                      </a:r>
                      <a:r>
                        <a:rPr lang="en-US" altLang="zh-TW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>
                    <a:lnL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object 4">
            <a:extLst>
              <a:ext uri="{FF2B5EF4-FFF2-40B4-BE49-F238E27FC236}">
                <a16:creationId xmlns:a16="http://schemas.microsoft.com/office/drawing/2014/main" id="{814421DB-769A-45A3-8F12-DAED4B7323D0}"/>
              </a:ext>
            </a:extLst>
          </p:cNvPr>
          <p:cNvSpPr txBox="1">
            <a:spLocks/>
          </p:cNvSpPr>
          <p:nvPr/>
        </p:nvSpPr>
        <p:spPr>
          <a:xfrm>
            <a:off x="2913798" y="432117"/>
            <a:ext cx="7253784" cy="132339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33"/>
              </a:buClr>
              <a:buSzPts val="4000"/>
              <a:buFont typeface="Microsoft JhengHei"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Microsoft JhengHei"/>
                <a:ea typeface="Microsoft JhengHei"/>
                <a:cs typeface="+mj-cs"/>
              </a:rPr>
              <a:t>台灣學分轉換 </a:t>
            </a:r>
            <a:r>
              <a:rPr kumimoji="0" lang="en-US" altLang="zh-TW" sz="40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Microsoft JhengHei"/>
                <a:ea typeface="Microsoft JhengHei"/>
                <a:cs typeface="+mj-cs"/>
              </a:rPr>
              <a:t>+ </a:t>
            </a: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Microsoft JhengHei"/>
                <a:ea typeface="Microsoft JhengHei"/>
                <a:cs typeface="+mj-cs"/>
              </a:rPr>
              <a:t>薩省畢業門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33"/>
              </a:buClr>
              <a:buSzPts val="4000"/>
              <a:buFont typeface="Microsoft JhengHei"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Microsoft JhengHei"/>
                <a:ea typeface="Microsoft JhengHei"/>
                <a:cs typeface="+mj-cs"/>
              </a:rPr>
              <a:t>     </a:t>
            </a:r>
            <a:r>
              <a:rPr kumimoji="0" lang="en-US" altLang="zh-TW" sz="40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Microsoft JhengHei"/>
                <a:ea typeface="Microsoft JhengHei"/>
                <a:cs typeface="+mj-cs"/>
              </a:rPr>
              <a:t>17 + </a:t>
            </a:r>
            <a:r>
              <a:rPr lang="en-US" altLang="zh-TW" sz="4000" b="1" dirty="0">
                <a:solidFill>
                  <a:srgbClr val="006633"/>
                </a:solidFill>
                <a:latin typeface="Microsoft JhengHei"/>
                <a:ea typeface="Microsoft JhengHei"/>
              </a:rPr>
              <a:t>8</a:t>
            </a:r>
            <a:r>
              <a:rPr kumimoji="0" lang="en-US" altLang="zh-TW" sz="4000" b="1" i="0" u="none" strike="noStrike" kern="120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Microsoft JhengHei"/>
                <a:ea typeface="Microsoft JhengHei"/>
                <a:cs typeface="+mj-cs"/>
              </a:rPr>
              <a:t>= 25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8</a:t>
            </a:fld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78" name="Google Shape;278;p9"/>
          <p:cNvSpPr txBox="1">
            <a:spLocks noGrp="1"/>
          </p:cNvSpPr>
          <p:nvPr>
            <p:ph type="title"/>
          </p:nvPr>
        </p:nvSpPr>
        <p:spPr>
          <a:xfrm>
            <a:off x="4429455" y="2334985"/>
            <a:ext cx="6705600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306000" lvl="0" indent="-306000">
              <a:spcBef>
                <a:spcPts val="1080"/>
              </a:spcBef>
              <a:buSzPts val="2208"/>
            </a:pPr>
            <a:r>
              <a:rPr lang="zh-TW" altLang="en-US" sz="5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上課時間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89841D9-C3C9-463E-AEDC-0E13102105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79166" y="2238735"/>
            <a:ext cx="2205037" cy="220503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FD41AA68-A57B-4A31-9D29-1CC323FEA935}"/>
              </a:ext>
            </a:extLst>
          </p:cNvPr>
          <p:cNvSpPr txBox="1"/>
          <p:nvPr/>
        </p:nvSpPr>
        <p:spPr>
          <a:xfrm>
            <a:off x="2332256" y="2956532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4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t>4</a:t>
            </a:r>
            <a:endParaRPr kumimoji="0" lang="zh-TW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cxnSp>
        <p:nvCxnSpPr>
          <p:cNvPr id="7" name="Google Shape;114;p8">
            <a:extLst>
              <a:ext uri="{FF2B5EF4-FFF2-40B4-BE49-F238E27FC236}">
                <a16:creationId xmlns:a16="http://schemas.microsoft.com/office/drawing/2014/main" id="{BF7DDB74-A377-4B05-BCB7-0F386928D814}"/>
              </a:ext>
            </a:extLst>
          </p:cNvPr>
          <p:cNvCxnSpPr/>
          <p:nvPr/>
        </p:nvCxnSpPr>
        <p:spPr>
          <a:xfrm>
            <a:off x="4500212" y="4293960"/>
            <a:ext cx="1504950" cy="0"/>
          </a:xfrm>
          <a:prstGeom prst="straightConnector1">
            <a:avLst/>
          </a:prstGeom>
          <a:noFill/>
          <a:ln w="155575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75096259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519A6C8B-2A52-44F2-9930-8AE9263FF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周六全天實體課程</a:t>
            </a:r>
          </a:p>
        </p:txBody>
      </p:sp>
      <p:graphicFrame>
        <p:nvGraphicFramePr>
          <p:cNvPr id="4" name="表格 4">
            <a:extLst>
              <a:ext uri="{FF2B5EF4-FFF2-40B4-BE49-F238E27FC236}">
                <a16:creationId xmlns:a16="http://schemas.microsoft.com/office/drawing/2014/main" id="{E9007DE2-18AD-4A7A-88A7-DE8DCAB1EE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2505285"/>
              </p:ext>
            </p:extLst>
          </p:nvPr>
        </p:nvGraphicFramePr>
        <p:xfrm>
          <a:off x="558921" y="2117830"/>
          <a:ext cx="10600306" cy="289805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35144">
                  <a:extLst>
                    <a:ext uri="{9D8B030D-6E8A-4147-A177-3AD203B41FA5}">
                      <a16:colId xmlns:a16="http://schemas.microsoft.com/office/drawing/2014/main" val="1159623763"/>
                    </a:ext>
                  </a:extLst>
                </a:gridCol>
                <a:gridCol w="1435144">
                  <a:extLst>
                    <a:ext uri="{9D8B030D-6E8A-4147-A177-3AD203B41FA5}">
                      <a16:colId xmlns:a16="http://schemas.microsoft.com/office/drawing/2014/main" val="2815294641"/>
                    </a:ext>
                  </a:extLst>
                </a:gridCol>
                <a:gridCol w="1435144">
                  <a:extLst>
                    <a:ext uri="{9D8B030D-6E8A-4147-A177-3AD203B41FA5}">
                      <a16:colId xmlns:a16="http://schemas.microsoft.com/office/drawing/2014/main" val="597169684"/>
                    </a:ext>
                  </a:extLst>
                </a:gridCol>
                <a:gridCol w="1435144">
                  <a:extLst>
                    <a:ext uri="{9D8B030D-6E8A-4147-A177-3AD203B41FA5}">
                      <a16:colId xmlns:a16="http://schemas.microsoft.com/office/drawing/2014/main" val="2828579954"/>
                    </a:ext>
                  </a:extLst>
                </a:gridCol>
                <a:gridCol w="1435144">
                  <a:extLst>
                    <a:ext uri="{9D8B030D-6E8A-4147-A177-3AD203B41FA5}">
                      <a16:colId xmlns:a16="http://schemas.microsoft.com/office/drawing/2014/main" val="6810834"/>
                    </a:ext>
                  </a:extLst>
                </a:gridCol>
                <a:gridCol w="1435144">
                  <a:extLst>
                    <a:ext uri="{9D8B030D-6E8A-4147-A177-3AD203B41FA5}">
                      <a16:colId xmlns:a16="http://schemas.microsoft.com/office/drawing/2014/main" val="458664663"/>
                    </a:ext>
                  </a:extLst>
                </a:gridCol>
                <a:gridCol w="1989442">
                  <a:extLst>
                    <a:ext uri="{9D8B030D-6E8A-4147-A177-3AD203B41FA5}">
                      <a16:colId xmlns:a16="http://schemas.microsoft.com/office/drawing/2014/main" val="1341078296"/>
                    </a:ext>
                  </a:extLst>
                </a:gridCol>
              </a:tblGrid>
              <a:tr h="724513">
                <a:tc>
                  <a:txBody>
                    <a:bodyPr/>
                    <a:lstStyle/>
                    <a:p>
                      <a:pPr algn="ctr"/>
                      <a:endParaRPr lang="zh-TW" altLang="en-US" sz="1600" dirty="0"/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dirty="0"/>
                        <a:t>星期一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dirty="0"/>
                        <a:t>星期二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dirty="0"/>
                        <a:t>星期三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dirty="0"/>
                        <a:t>星期四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dirty="0"/>
                        <a:t>星期五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600" dirty="0"/>
                        <a:t>星期六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9321117"/>
                  </a:ext>
                </a:extLst>
              </a:tr>
              <a:tr h="724513">
                <a:tc>
                  <a:txBody>
                    <a:bodyPr/>
                    <a:lstStyle/>
                    <a:p>
                      <a:r>
                        <a:rPr lang="zh-TW" altLang="en-US" sz="2000" b="1" dirty="0"/>
                        <a:t>上午</a:t>
                      </a: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zh-TW" altLang="en-US" sz="2000" b="1" dirty="0"/>
                        <a:t>在校上課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20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20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20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2000" b="1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altLang="zh-TW" sz="2000" b="1" dirty="0"/>
                        <a:t>08:00~16:30</a:t>
                      </a:r>
                    </a:p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zh-TW" altLang="en-US" sz="2000" b="1" dirty="0"/>
                        <a:t>實體課程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1510433"/>
                  </a:ext>
                </a:extLst>
              </a:tr>
              <a:tr h="724513">
                <a:tc>
                  <a:txBody>
                    <a:bodyPr/>
                    <a:lstStyle/>
                    <a:p>
                      <a:r>
                        <a:rPr lang="zh-TW" altLang="en-US" sz="2000" b="1" dirty="0"/>
                        <a:t>下午</a:t>
                      </a: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b="1" dirty="0"/>
                        <a:t>在校上課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20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20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20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2000" b="1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zh-TW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183803"/>
                  </a:ext>
                </a:extLst>
              </a:tr>
              <a:tr h="724513">
                <a:tc>
                  <a:txBody>
                    <a:bodyPr/>
                    <a:lstStyle/>
                    <a:p>
                      <a:r>
                        <a:rPr lang="zh-TW" altLang="en-US" sz="2000" b="1" dirty="0"/>
                        <a:t>課後</a:t>
                      </a: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zh-TW" altLang="en-US" sz="2000" b="1" dirty="0"/>
                        <a:t>學生在家自學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b="1" dirty="0"/>
                        <a:t>線上課程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b="1" dirty="0"/>
                        <a:t>線上課程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b="1" dirty="0"/>
                        <a:t>線上課程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zh-TW" altLang="en-US" sz="2000" b="1" dirty="0"/>
                    </a:p>
                  </a:txBody>
                  <a:tcPr anchor="ctr">
                    <a:lnBlToT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</a:tcPr>
                </a:tc>
                <a:tc>
                  <a:txBody>
                    <a:bodyPr/>
                    <a:lstStyle/>
                    <a:p>
                      <a:endParaRPr lang="zh-TW" altLang="en-US" sz="20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9159490"/>
                  </a:ext>
                </a:extLst>
              </a:tr>
            </a:tbl>
          </a:graphicData>
        </a:graphic>
      </p:graphicFrame>
      <p:sp>
        <p:nvSpPr>
          <p:cNvPr id="5" name="文字方塊 4">
            <a:extLst>
              <a:ext uri="{FF2B5EF4-FFF2-40B4-BE49-F238E27FC236}">
                <a16:creationId xmlns:a16="http://schemas.microsoft.com/office/drawing/2014/main" id="{FA34F775-6D0C-4D13-A8EE-D942AA6A1781}"/>
              </a:ext>
            </a:extLst>
          </p:cNvPr>
          <p:cNvSpPr txBox="1"/>
          <p:nvPr/>
        </p:nvSpPr>
        <p:spPr>
          <a:xfrm flipH="1">
            <a:off x="647699" y="1024917"/>
            <a:ext cx="7280059" cy="87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TW" altLang="en-US" b="1" dirty="0">
                <a:latin typeface="+mn-ea"/>
              </a:rPr>
              <a:t>周六實體課程為主、平日學生自學為輔</a:t>
            </a:r>
            <a:endParaRPr lang="en-US" altLang="zh-TW" b="1" dirty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zh-TW" altLang="en-US" b="1" dirty="0">
                <a:latin typeface="+mn-ea"/>
              </a:rPr>
              <a:t>增加學生英語學習時間，幫助學生於課堂中完成作業並進行考前複習</a:t>
            </a:r>
          </a:p>
        </p:txBody>
      </p:sp>
    </p:spTree>
    <p:extLst>
      <p:ext uri="{BB962C8B-B14F-4D97-AF65-F5344CB8AC3E}">
        <p14:creationId xmlns:p14="http://schemas.microsoft.com/office/powerpoint/2010/main" val="26757162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78" name="Google Shape;278;p9"/>
          <p:cNvSpPr txBox="1">
            <a:spLocks noGrp="1"/>
          </p:cNvSpPr>
          <p:nvPr>
            <p:ph type="title"/>
          </p:nvPr>
        </p:nvSpPr>
        <p:spPr>
          <a:xfrm>
            <a:off x="4429455" y="2334985"/>
            <a:ext cx="6705600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306000" lvl="0" indent="-306000">
              <a:spcBef>
                <a:spcPts val="1080"/>
              </a:spcBef>
              <a:buSzPts val="2208"/>
            </a:pPr>
            <a:r>
              <a:rPr lang="zh-TW" altLang="en-US" sz="5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學區介紹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EA2B36B3-96F9-4E27-B1EB-90264FB56B68}"/>
              </a:ext>
            </a:extLst>
          </p:cNvPr>
          <p:cNvSpPr txBox="1"/>
          <p:nvPr/>
        </p:nvSpPr>
        <p:spPr>
          <a:xfrm>
            <a:off x="4429455" y="3651294"/>
            <a:ext cx="53694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Greater Saskatoon Catholic Schools (GSCS)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89841D9-C3C9-463E-AEDC-0E13102105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79166" y="2238735"/>
            <a:ext cx="2205037" cy="220503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FD41AA68-A57B-4A31-9D29-1CC323FEA935}"/>
              </a:ext>
            </a:extLst>
          </p:cNvPr>
          <p:cNvSpPr txBox="1"/>
          <p:nvPr/>
        </p:nvSpPr>
        <p:spPr>
          <a:xfrm>
            <a:off x="2332256" y="2956532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4400" dirty="0">
                <a:solidFill>
                  <a:prstClr val="white"/>
                </a:solidFill>
                <a:latin typeface="Calibri" panose="020F0502020204030204"/>
                <a:ea typeface="新細明體" panose="02020500000000000000" pitchFamily="18" charset="-120"/>
              </a:rPr>
              <a:t>1</a:t>
            </a:r>
            <a:endParaRPr kumimoji="0" lang="zh-TW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cxnSp>
        <p:nvCxnSpPr>
          <p:cNvPr id="7" name="Google Shape;114;p8">
            <a:extLst>
              <a:ext uri="{FF2B5EF4-FFF2-40B4-BE49-F238E27FC236}">
                <a16:creationId xmlns:a16="http://schemas.microsoft.com/office/drawing/2014/main" id="{BF7DDB74-A377-4B05-BCB7-0F386928D814}"/>
              </a:ext>
            </a:extLst>
          </p:cNvPr>
          <p:cNvCxnSpPr/>
          <p:nvPr/>
        </p:nvCxnSpPr>
        <p:spPr>
          <a:xfrm>
            <a:off x="4500212" y="4293960"/>
            <a:ext cx="1504950" cy="0"/>
          </a:xfrm>
          <a:prstGeom prst="straightConnector1">
            <a:avLst/>
          </a:prstGeom>
          <a:noFill/>
          <a:ln w="155575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27370069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字方塊 5">
            <a:extLst>
              <a:ext uri="{FF2B5EF4-FFF2-40B4-BE49-F238E27FC236}">
                <a16:creationId xmlns:a16="http://schemas.microsoft.com/office/drawing/2014/main" id="{804D8C3A-6726-489F-9B02-7684F728EED6}"/>
              </a:ext>
            </a:extLst>
          </p:cNvPr>
          <p:cNvSpPr txBox="1"/>
          <p:nvPr/>
        </p:nvSpPr>
        <p:spPr>
          <a:xfrm flipH="1">
            <a:off x="995592" y="5756677"/>
            <a:ext cx="7280059" cy="872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*周六或周日一整天學習 </a:t>
            </a:r>
            <a:r>
              <a:rPr kumimoji="0" lang="en-US" altLang="zh-TW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08:00~16:30</a:t>
            </a:r>
            <a:r>
              <a:rPr kumimoji="0" lang="zh-TW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，共</a:t>
            </a:r>
            <a:r>
              <a:rPr kumimoji="0" lang="en-US" altLang="zh-TW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7</a:t>
            </a:r>
            <a:r>
              <a:rPr kumimoji="0" lang="zh-TW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節課</a:t>
            </a:r>
            <a:endParaRPr kumimoji="0" lang="en-US" altLang="zh-TW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*增加學生英語學習時間，幫助學生於課堂中完成作業並進行考前複習</a:t>
            </a:r>
          </a:p>
        </p:txBody>
      </p:sp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FCC5256C-441E-475F-A82A-1368A2DE4556}"/>
              </a:ext>
            </a:extLst>
          </p:cNvPr>
          <p:cNvGraphicFramePr>
            <a:graphicFrameLocks noGrp="1"/>
          </p:cNvGraphicFramePr>
          <p:nvPr/>
        </p:nvGraphicFramePr>
        <p:xfrm>
          <a:off x="995592" y="1402584"/>
          <a:ext cx="9802547" cy="4191857"/>
        </p:xfrm>
        <a:graphic>
          <a:graphicData uri="http://schemas.openxmlformats.org/drawingml/2006/table">
            <a:tbl>
              <a:tblPr/>
              <a:tblGrid>
                <a:gridCol w="1622004">
                  <a:extLst>
                    <a:ext uri="{9D8B030D-6E8A-4147-A177-3AD203B41FA5}">
                      <a16:colId xmlns:a16="http://schemas.microsoft.com/office/drawing/2014/main" val="2674220872"/>
                    </a:ext>
                  </a:extLst>
                </a:gridCol>
                <a:gridCol w="1904092">
                  <a:extLst>
                    <a:ext uri="{9D8B030D-6E8A-4147-A177-3AD203B41FA5}">
                      <a16:colId xmlns:a16="http://schemas.microsoft.com/office/drawing/2014/main" val="2548884953"/>
                    </a:ext>
                  </a:extLst>
                </a:gridCol>
                <a:gridCol w="2421253">
                  <a:extLst>
                    <a:ext uri="{9D8B030D-6E8A-4147-A177-3AD203B41FA5}">
                      <a16:colId xmlns:a16="http://schemas.microsoft.com/office/drawing/2014/main" val="3105274886"/>
                    </a:ext>
                  </a:extLst>
                </a:gridCol>
                <a:gridCol w="1316409">
                  <a:extLst>
                    <a:ext uri="{9D8B030D-6E8A-4147-A177-3AD203B41FA5}">
                      <a16:colId xmlns:a16="http://schemas.microsoft.com/office/drawing/2014/main" val="1366651189"/>
                    </a:ext>
                  </a:extLst>
                </a:gridCol>
                <a:gridCol w="2538789">
                  <a:extLst>
                    <a:ext uri="{9D8B030D-6E8A-4147-A177-3AD203B41FA5}">
                      <a16:colId xmlns:a16="http://schemas.microsoft.com/office/drawing/2014/main" val="2672894146"/>
                    </a:ext>
                  </a:extLst>
                </a:gridCol>
              </a:tblGrid>
              <a:tr h="471753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時間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內容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上課方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師資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4866721"/>
                  </a:ext>
                </a:extLst>
              </a:tr>
              <a:tr h="458273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上學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8:00~09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虛實同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合格教師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2155384"/>
                  </a:ext>
                </a:extLst>
              </a:tr>
              <a:tr h="47175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:10~12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5127289"/>
                  </a:ext>
                </a:extLst>
              </a:tr>
              <a:tr h="47175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:30~16:3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基礎寫作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1433482"/>
                  </a:ext>
                </a:extLst>
              </a:tr>
              <a:tr h="458273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下學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8:00~09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學 </a:t>
                      </a:r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虛實同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合格教師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3236637"/>
                  </a:ext>
                </a:extLst>
              </a:tr>
              <a:tr h="45827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:00~09:5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學 </a:t>
                      </a:r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9244372"/>
                  </a:ext>
                </a:extLst>
              </a:tr>
              <a:tr h="45827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:00~11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虛實同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合格教師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880654"/>
                  </a:ext>
                </a:extLst>
              </a:tr>
              <a:tr h="47175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:00~12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9103834"/>
                  </a:ext>
                </a:extLst>
              </a:tr>
              <a:tr h="47175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:30~16:3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學</a:t>
                      </a:r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/</a:t>
                      </a:r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8108889"/>
                  </a:ext>
                </a:extLst>
              </a:tr>
            </a:tbl>
          </a:graphicData>
        </a:graphic>
      </p:graphicFrame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068DABB8-4FEE-4154-AC7E-9A5D7C6B9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標題 1">
            <a:extLst>
              <a:ext uri="{FF2B5EF4-FFF2-40B4-BE49-F238E27FC236}">
                <a16:creationId xmlns:a16="http://schemas.microsoft.com/office/drawing/2014/main" id="{F5CCDBBD-7559-4273-B195-98615B31EB7A}"/>
              </a:ext>
            </a:extLst>
          </p:cNvPr>
          <p:cNvSpPr txBox="1">
            <a:spLocks/>
          </p:cNvSpPr>
          <p:nvPr/>
        </p:nvSpPr>
        <p:spPr>
          <a:xfrm>
            <a:off x="995592" y="505214"/>
            <a:ext cx="624722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zh-TW" altLang="en-US" b="1" dirty="0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課表時間規劃</a:t>
            </a:r>
            <a:r>
              <a:rPr lang="en-US" altLang="zh-TW" sz="2400" b="1" dirty="0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(</a:t>
            </a:r>
            <a:r>
              <a:rPr lang="zh-TW" altLang="en-US" sz="2400" b="1" dirty="0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周六全天實體課程</a:t>
            </a:r>
            <a:r>
              <a:rPr lang="en-US" altLang="zh-TW" sz="2400" b="1" dirty="0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)</a:t>
            </a:r>
            <a:endParaRPr lang="zh-TW" altLang="en-US" sz="2400" b="1" dirty="0">
              <a:solidFill>
                <a:srgbClr val="006633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3820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1">
            <a:extLst>
              <a:ext uri="{FF2B5EF4-FFF2-40B4-BE49-F238E27FC236}">
                <a16:creationId xmlns:a16="http://schemas.microsoft.com/office/drawing/2014/main" id="{F5CCDBBD-7559-4273-B195-98615B31E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708" y="618426"/>
            <a:ext cx="6247223" cy="76944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lang="zh-TW" altLang="en-US" b="1" dirty="0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課表時間規劃</a:t>
            </a:r>
            <a:r>
              <a:rPr lang="en-US" altLang="zh-TW" sz="2400" b="1" dirty="0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(</a:t>
            </a:r>
            <a:r>
              <a:rPr lang="zh-TW" altLang="en-US" sz="2400" b="1" dirty="0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周六全天實體課程</a:t>
            </a:r>
            <a:r>
              <a:rPr lang="en-US" altLang="zh-TW" sz="2400" b="1" dirty="0">
                <a:solidFill>
                  <a:srgbClr val="006633"/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)</a:t>
            </a:r>
            <a:endParaRPr lang="zh-TW" altLang="en-US" sz="2400" b="1" dirty="0">
              <a:solidFill>
                <a:srgbClr val="006633"/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graphicFrame>
        <p:nvGraphicFramePr>
          <p:cNvPr id="6" name="表格 5">
            <a:extLst>
              <a:ext uri="{FF2B5EF4-FFF2-40B4-BE49-F238E27FC236}">
                <a16:creationId xmlns:a16="http://schemas.microsoft.com/office/drawing/2014/main" id="{6C52D6A3-849D-49F8-898E-16B347F40554}"/>
              </a:ext>
            </a:extLst>
          </p:cNvPr>
          <p:cNvGraphicFramePr>
            <a:graphicFrameLocks noGrp="1"/>
          </p:cNvGraphicFramePr>
          <p:nvPr/>
        </p:nvGraphicFramePr>
        <p:xfrm>
          <a:off x="676472" y="1451815"/>
          <a:ext cx="9873465" cy="4787759"/>
        </p:xfrm>
        <a:graphic>
          <a:graphicData uri="http://schemas.openxmlformats.org/drawingml/2006/table">
            <a:tbl>
              <a:tblPr/>
              <a:tblGrid>
                <a:gridCol w="1633739">
                  <a:extLst>
                    <a:ext uri="{9D8B030D-6E8A-4147-A177-3AD203B41FA5}">
                      <a16:colId xmlns:a16="http://schemas.microsoft.com/office/drawing/2014/main" val="699677682"/>
                    </a:ext>
                  </a:extLst>
                </a:gridCol>
                <a:gridCol w="1917867">
                  <a:extLst>
                    <a:ext uri="{9D8B030D-6E8A-4147-A177-3AD203B41FA5}">
                      <a16:colId xmlns:a16="http://schemas.microsoft.com/office/drawing/2014/main" val="2485123211"/>
                    </a:ext>
                  </a:extLst>
                </a:gridCol>
                <a:gridCol w="2438769">
                  <a:extLst>
                    <a:ext uri="{9D8B030D-6E8A-4147-A177-3AD203B41FA5}">
                      <a16:colId xmlns:a16="http://schemas.microsoft.com/office/drawing/2014/main" val="285899211"/>
                    </a:ext>
                  </a:extLst>
                </a:gridCol>
                <a:gridCol w="1325933">
                  <a:extLst>
                    <a:ext uri="{9D8B030D-6E8A-4147-A177-3AD203B41FA5}">
                      <a16:colId xmlns:a16="http://schemas.microsoft.com/office/drawing/2014/main" val="397236406"/>
                    </a:ext>
                  </a:extLst>
                </a:gridCol>
                <a:gridCol w="2557157">
                  <a:extLst>
                    <a:ext uri="{9D8B030D-6E8A-4147-A177-3AD203B41FA5}">
                      <a16:colId xmlns:a16="http://schemas.microsoft.com/office/drawing/2014/main" val="1072493061"/>
                    </a:ext>
                  </a:extLst>
                </a:gridCol>
              </a:tblGrid>
              <a:tr h="442141"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時間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內容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上課方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師資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1792477"/>
                  </a:ext>
                </a:extLst>
              </a:tr>
              <a:tr h="42950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上學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8:00~09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選修自然 </a:t>
                      </a:r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虛實同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合格教師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6330172"/>
                  </a:ext>
                </a:extLst>
              </a:tr>
              <a:tr h="429509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:00~09:5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選修自然 </a:t>
                      </a:r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845300"/>
                  </a:ext>
                </a:extLst>
              </a:tr>
              <a:tr h="429509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:00~11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虛實同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合格教師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38307"/>
                  </a:ext>
                </a:extLst>
              </a:tr>
              <a:tr h="442141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:00~12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943946"/>
                  </a:ext>
                </a:extLst>
              </a:tr>
              <a:tr h="442141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:30~16:3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選修</a:t>
                      </a:r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/</a:t>
                      </a:r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1823635"/>
                  </a:ext>
                </a:extLst>
              </a:tr>
              <a:tr h="429509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zh-TW" altLang="en-US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下學期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8:00~09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 </a:t>
                      </a:r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虛實同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合格教師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367173"/>
                  </a:ext>
                </a:extLst>
              </a:tr>
              <a:tr h="429509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09:00~09:5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 </a:t>
                      </a:r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3978428"/>
                  </a:ext>
                </a:extLst>
              </a:tr>
              <a:tr h="429509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:00~11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虛實同步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合格教師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4411581"/>
                  </a:ext>
                </a:extLst>
              </a:tr>
              <a:tr h="442141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1:00~12:0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1848263"/>
                  </a:ext>
                </a:extLst>
              </a:tr>
              <a:tr h="442141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TW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3:30~16:3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</a:t>
                      </a:r>
                      <a:r>
                        <a:rPr lang="en-US" altLang="zh-TW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/</a:t>
                      </a:r>
                      <a:r>
                        <a:rPr lang="zh-TW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英文 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實體課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外籍老師全英授課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274007"/>
                  </a:ext>
                </a:extLst>
              </a:tr>
            </a:tbl>
          </a:graphicData>
        </a:graphic>
      </p:graphicFrame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5EB5ED53-D12F-46AE-8432-8B3392F3D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04501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DD95DAD0-91F5-49EA-B1E4-E1536E117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dirty="0"/>
              <a:t>加拿大薩省</a:t>
            </a:r>
            <a:r>
              <a:rPr lang="en-US" altLang="zh-TW" dirty="0"/>
              <a:t>-</a:t>
            </a:r>
            <a:r>
              <a:rPr lang="zh-TW" altLang="en-US" dirty="0"/>
              <a:t>線上課程教師團隊</a:t>
            </a:r>
          </a:p>
        </p:txBody>
      </p:sp>
      <p:pic>
        <p:nvPicPr>
          <p:cNvPr id="6" name="圖片 5" descr="一張含有 個人, 室內 的圖片&#10;&#10;自動產生的描述">
            <a:extLst>
              <a:ext uri="{FF2B5EF4-FFF2-40B4-BE49-F238E27FC236}">
                <a16:creationId xmlns:a16="http://schemas.microsoft.com/office/drawing/2014/main" id="{1FAE90C3-DED7-4674-839E-AA29675FCE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935" y="975655"/>
            <a:ext cx="2351492" cy="2214428"/>
          </a:xfrm>
          <a:prstGeom prst="rect">
            <a:avLst/>
          </a:prstGeom>
        </p:spPr>
      </p:pic>
      <p:pic>
        <p:nvPicPr>
          <p:cNvPr id="8" name="圖片 7" descr="一張含有 個人, 牆, 室內, 橙色 的圖片&#10;&#10;自動產生的描述">
            <a:extLst>
              <a:ext uri="{FF2B5EF4-FFF2-40B4-BE49-F238E27FC236}">
                <a16:creationId xmlns:a16="http://schemas.microsoft.com/office/drawing/2014/main" id="{8EB896B2-D05E-4D19-8BB2-0EA0C4970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3554" y="975654"/>
            <a:ext cx="2289155" cy="2214428"/>
          </a:xfrm>
          <a:prstGeom prst="rect">
            <a:avLst/>
          </a:prstGeom>
        </p:spPr>
      </p:pic>
      <p:pic>
        <p:nvPicPr>
          <p:cNvPr id="12" name="圖片 11" descr="一張含有 男人, 個人, 窗戶, 眼鏡 的圖片&#10;&#10;自動產生的描述">
            <a:extLst>
              <a:ext uri="{FF2B5EF4-FFF2-40B4-BE49-F238E27FC236}">
                <a16:creationId xmlns:a16="http://schemas.microsoft.com/office/drawing/2014/main" id="{D8D96191-9602-4F5D-BBF1-068CB22D566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264" b="3679"/>
          <a:stretch/>
        </p:blipFill>
        <p:spPr>
          <a:xfrm>
            <a:off x="6334494" y="3912991"/>
            <a:ext cx="2289155" cy="2130199"/>
          </a:xfrm>
          <a:prstGeom prst="rect">
            <a:avLst/>
          </a:prstGeom>
        </p:spPr>
      </p:pic>
      <p:pic>
        <p:nvPicPr>
          <p:cNvPr id="16" name="圖片 15">
            <a:extLst>
              <a:ext uri="{FF2B5EF4-FFF2-40B4-BE49-F238E27FC236}">
                <a16:creationId xmlns:a16="http://schemas.microsoft.com/office/drawing/2014/main" id="{09738997-ACD8-4957-9BB9-77D26DFC23C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45558"/>
          <a:stretch/>
        </p:blipFill>
        <p:spPr>
          <a:xfrm>
            <a:off x="345814" y="3912992"/>
            <a:ext cx="2427345" cy="2029708"/>
          </a:xfrm>
          <a:prstGeom prst="rect">
            <a:avLst/>
          </a:prstGeom>
        </p:spPr>
      </p:pic>
      <p:pic>
        <p:nvPicPr>
          <p:cNvPr id="18" name="圖片 17" descr="一張含有 文字, 個人, 室內, 擺姿勢 的圖片&#10;&#10;自動產生的描述">
            <a:extLst>
              <a:ext uri="{FF2B5EF4-FFF2-40B4-BE49-F238E27FC236}">
                <a16:creationId xmlns:a16="http://schemas.microsoft.com/office/drawing/2014/main" id="{848F70A3-18E0-4A38-BFCC-48BA02B0953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719" t="8980" r="46141" b="45540"/>
          <a:stretch/>
        </p:blipFill>
        <p:spPr>
          <a:xfrm>
            <a:off x="3328782" y="3879246"/>
            <a:ext cx="2433215" cy="2163944"/>
          </a:xfrm>
          <a:prstGeom prst="rect">
            <a:avLst/>
          </a:prstGeom>
        </p:spPr>
      </p:pic>
      <p:pic>
        <p:nvPicPr>
          <p:cNvPr id="20" name="圖片 19" descr="一張含有 個人, 男人, 室外, 笑臉 的圖片&#10;&#10;自動產生的描述">
            <a:extLst>
              <a:ext uri="{FF2B5EF4-FFF2-40B4-BE49-F238E27FC236}">
                <a16:creationId xmlns:a16="http://schemas.microsoft.com/office/drawing/2014/main" id="{9603B461-5477-4F42-BE14-7D9F259C18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14171" y="975654"/>
            <a:ext cx="2214428" cy="2214428"/>
          </a:xfrm>
          <a:prstGeom prst="rect">
            <a:avLst/>
          </a:prstGeom>
        </p:spPr>
      </p:pic>
      <p:pic>
        <p:nvPicPr>
          <p:cNvPr id="24" name="圖片 23" descr="一張含有 個人, 牆, 室內, 窗戶 的圖片&#10;&#10;自動產生的描述">
            <a:extLst>
              <a:ext uri="{FF2B5EF4-FFF2-40B4-BE49-F238E27FC236}">
                <a16:creationId xmlns:a16="http://schemas.microsoft.com/office/drawing/2014/main" id="{5DA39493-259D-4D1D-80D9-CEF089B5B7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33756" y="975654"/>
            <a:ext cx="2472311" cy="2277217"/>
          </a:xfrm>
          <a:prstGeom prst="rect">
            <a:avLst/>
          </a:prstGeom>
        </p:spPr>
      </p:pic>
      <p:sp>
        <p:nvSpPr>
          <p:cNvPr id="26" name="文字方塊 25">
            <a:extLst>
              <a:ext uri="{FF2B5EF4-FFF2-40B4-BE49-F238E27FC236}">
                <a16:creationId xmlns:a16="http://schemas.microsoft.com/office/drawing/2014/main" id="{03637FCB-D8BF-41FE-98BD-92391BB95473}"/>
              </a:ext>
            </a:extLst>
          </p:cNvPr>
          <p:cNvSpPr txBox="1"/>
          <p:nvPr/>
        </p:nvSpPr>
        <p:spPr>
          <a:xfrm>
            <a:off x="450935" y="3250514"/>
            <a:ext cx="28116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ELA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 </a:t>
            </a: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A10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Sherven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8215A533-81F2-4A22-9FEC-DF8805F8C257}"/>
              </a:ext>
            </a:extLst>
          </p:cNvPr>
          <p:cNvSpPr txBox="1"/>
          <p:nvPr/>
        </p:nvSpPr>
        <p:spPr>
          <a:xfrm>
            <a:off x="3328782" y="3232915"/>
            <a:ext cx="31091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ELA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 </a:t>
            </a: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B10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Danielle </a:t>
            </a:r>
            <a:r>
              <a:rPr kumimoji="0" lang="en-US" altLang="zh-TW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Sasbrink-Harkema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35" name="文字方塊 34">
            <a:extLst>
              <a:ext uri="{FF2B5EF4-FFF2-40B4-BE49-F238E27FC236}">
                <a16:creationId xmlns:a16="http://schemas.microsoft.com/office/drawing/2014/main" id="{D7A6C1DA-199E-4EBE-8709-CC337A32CECF}"/>
              </a:ext>
            </a:extLst>
          </p:cNvPr>
          <p:cNvSpPr txBox="1"/>
          <p:nvPr/>
        </p:nvSpPr>
        <p:spPr>
          <a:xfrm>
            <a:off x="6334494" y="3267025"/>
            <a:ext cx="28605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ELA 20, A30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Elizabeth Breese</a:t>
            </a:r>
          </a:p>
        </p:txBody>
      </p:sp>
      <p:sp>
        <p:nvSpPr>
          <p:cNvPr id="37" name="文字方塊 36">
            <a:extLst>
              <a:ext uri="{FF2B5EF4-FFF2-40B4-BE49-F238E27FC236}">
                <a16:creationId xmlns:a16="http://schemas.microsoft.com/office/drawing/2014/main" id="{64977A2F-2874-4D25-ADB3-1B7D790C4F18}"/>
              </a:ext>
            </a:extLst>
          </p:cNvPr>
          <p:cNvSpPr txBox="1"/>
          <p:nvPr/>
        </p:nvSpPr>
        <p:spPr>
          <a:xfrm>
            <a:off x="9114411" y="3266660"/>
            <a:ext cx="15260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ELA B30 Ken Hodson</a:t>
            </a:r>
          </a:p>
        </p:txBody>
      </p:sp>
      <p:sp>
        <p:nvSpPr>
          <p:cNvPr id="39" name="文字方塊 38">
            <a:extLst>
              <a:ext uri="{FF2B5EF4-FFF2-40B4-BE49-F238E27FC236}">
                <a16:creationId xmlns:a16="http://schemas.microsoft.com/office/drawing/2014/main" id="{B429DA4E-78F9-4E00-B9D0-C8B76879EF22}"/>
              </a:ext>
            </a:extLst>
          </p:cNvPr>
          <p:cNvSpPr txBox="1"/>
          <p:nvPr/>
        </p:nvSpPr>
        <p:spPr>
          <a:xfrm>
            <a:off x="362688" y="5942700"/>
            <a:ext cx="24104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PC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 </a:t>
            </a: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30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Kevin </a:t>
            </a:r>
            <a:r>
              <a:rPr kumimoji="0" lang="en-US" altLang="zh-TW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Harbidge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1" name="文字方塊 40">
            <a:extLst>
              <a:ext uri="{FF2B5EF4-FFF2-40B4-BE49-F238E27FC236}">
                <a16:creationId xmlns:a16="http://schemas.microsoft.com/office/drawing/2014/main" id="{706B79EF-9DED-4F5D-B8E0-5A5589D3CB26}"/>
              </a:ext>
            </a:extLst>
          </p:cNvPr>
          <p:cNvSpPr txBox="1"/>
          <p:nvPr/>
        </p:nvSpPr>
        <p:spPr>
          <a:xfrm>
            <a:off x="3345656" y="5994862"/>
            <a:ext cx="25189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Physics 30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Joshua </a:t>
            </a:r>
            <a:r>
              <a:rPr kumimoji="0" lang="en-US" altLang="zh-TW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Balaberda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3" name="文字方塊 42">
            <a:extLst>
              <a:ext uri="{FF2B5EF4-FFF2-40B4-BE49-F238E27FC236}">
                <a16:creationId xmlns:a16="http://schemas.microsoft.com/office/drawing/2014/main" id="{53617C8E-CF65-4BC3-A852-459CDB0F1239}"/>
              </a:ext>
            </a:extLst>
          </p:cNvPr>
          <p:cNvSpPr txBox="1"/>
          <p:nvPr/>
        </p:nvSpPr>
        <p:spPr>
          <a:xfrm>
            <a:off x="6343554" y="6000935"/>
            <a:ext cx="27879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Indigenous Study 30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Todd </a:t>
            </a:r>
            <a:r>
              <a:rPr kumimoji="0" lang="en-US" altLang="zh-TW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Paslawski</a:t>
            </a:r>
            <a:endParaRPr kumimoji="0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7" name="文字方塊 16">
            <a:extLst>
              <a:ext uri="{FF2B5EF4-FFF2-40B4-BE49-F238E27FC236}">
                <a16:creationId xmlns:a16="http://schemas.microsoft.com/office/drawing/2014/main" id="{364DECB6-EE0D-48F7-A9A9-DCE77CA5215A}"/>
              </a:ext>
            </a:extLst>
          </p:cNvPr>
          <p:cNvSpPr txBox="1"/>
          <p:nvPr/>
        </p:nvSpPr>
        <p:spPr>
          <a:xfrm>
            <a:off x="9211077" y="5960773"/>
            <a:ext cx="281168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ELA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 </a:t>
            </a: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A10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 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微軟正黑體" panose="020B0604030504040204" pitchFamily="34" charset="-120"/>
                <a:cs typeface="+mn-cs"/>
              </a:rPr>
              <a:t>Scott Allen</a:t>
            </a:r>
          </a:p>
        </p:txBody>
      </p:sp>
      <p:pic>
        <p:nvPicPr>
          <p:cNvPr id="19" name="圖片 18" descr="一張含有 個人, 室內, 男人 的圖片&#10;&#10;自動產生的描述">
            <a:extLst>
              <a:ext uri="{FF2B5EF4-FFF2-40B4-BE49-F238E27FC236}">
                <a16:creationId xmlns:a16="http://schemas.microsoft.com/office/drawing/2014/main" id="{26232B80-6D2B-4BF1-9ED6-2FB17C371BC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6518"/>
          <a:stretch/>
        </p:blipFill>
        <p:spPr>
          <a:xfrm>
            <a:off x="9140543" y="3841958"/>
            <a:ext cx="2027358" cy="2171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6809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3</a:t>
            </a:fld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78" name="Google Shape;278;p9"/>
          <p:cNvSpPr txBox="1">
            <a:spLocks noGrp="1"/>
          </p:cNvSpPr>
          <p:nvPr>
            <p:ph type="title"/>
          </p:nvPr>
        </p:nvSpPr>
        <p:spPr>
          <a:xfrm>
            <a:off x="4429455" y="2334985"/>
            <a:ext cx="6705600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/>
          <a:p>
            <a:pPr marL="306000" lvl="0" indent="-306000">
              <a:spcBef>
                <a:spcPts val="1080"/>
              </a:spcBef>
              <a:buSzPts val="2208"/>
            </a:pPr>
            <a:r>
              <a:rPr lang="zh-TW" altLang="en-US" sz="5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費用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89841D9-C3C9-463E-AEDC-0E13102105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79166" y="2238735"/>
            <a:ext cx="2205037" cy="220503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FD41AA68-A57B-4A31-9D29-1CC323FEA935}"/>
              </a:ext>
            </a:extLst>
          </p:cNvPr>
          <p:cNvSpPr txBox="1"/>
          <p:nvPr/>
        </p:nvSpPr>
        <p:spPr>
          <a:xfrm>
            <a:off x="2332256" y="2956532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4400" dirty="0">
                <a:solidFill>
                  <a:prstClr val="white"/>
                </a:solidFill>
                <a:latin typeface="Calibri" panose="020F0502020204030204"/>
                <a:ea typeface="新細明體" panose="02020500000000000000" pitchFamily="18" charset="-120"/>
              </a:rPr>
              <a:t>5</a:t>
            </a:r>
            <a:endParaRPr kumimoji="0" lang="zh-TW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cxnSp>
        <p:nvCxnSpPr>
          <p:cNvPr id="7" name="Google Shape;114;p8">
            <a:extLst>
              <a:ext uri="{FF2B5EF4-FFF2-40B4-BE49-F238E27FC236}">
                <a16:creationId xmlns:a16="http://schemas.microsoft.com/office/drawing/2014/main" id="{BF7DDB74-A377-4B05-BCB7-0F386928D814}"/>
              </a:ext>
            </a:extLst>
          </p:cNvPr>
          <p:cNvCxnSpPr/>
          <p:nvPr/>
        </p:nvCxnSpPr>
        <p:spPr>
          <a:xfrm>
            <a:off x="4500212" y="4293960"/>
            <a:ext cx="1504950" cy="0"/>
          </a:xfrm>
          <a:prstGeom prst="straightConnector1">
            <a:avLst/>
          </a:prstGeom>
          <a:noFill/>
          <a:ln w="155575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6805223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018332DB-F8C3-45A4-8906-CD063715C90C}"/>
              </a:ext>
            </a:extLst>
          </p:cNvPr>
          <p:cNvSpPr/>
          <p:nvPr/>
        </p:nvSpPr>
        <p:spPr>
          <a:xfrm>
            <a:off x="460327" y="445638"/>
            <a:ext cx="4748284" cy="5813946"/>
          </a:xfrm>
          <a:prstGeom prst="rect">
            <a:avLst/>
          </a:prstGeom>
          <a:solidFill>
            <a:srgbClr val="0066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108F92C4-F0A5-441A-B808-06BA1E1CC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268504-A363-4DF9-B0F5-E031268B6357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graphicFrame>
        <p:nvGraphicFramePr>
          <p:cNvPr id="4" name="表格 5">
            <a:extLst>
              <a:ext uri="{FF2B5EF4-FFF2-40B4-BE49-F238E27FC236}">
                <a16:creationId xmlns:a16="http://schemas.microsoft.com/office/drawing/2014/main" id="{4F634F8F-EDB6-4127-A663-61AC3DB8AF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019555"/>
              </p:ext>
            </p:extLst>
          </p:nvPr>
        </p:nvGraphicFramePr>
        <p:xfrm>
          <a:off x="5312715" y="764664"/>
          <a:ext cx="6473850" cy="49908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7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7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716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科目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修課時間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學分費用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10A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上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10B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下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Pre- Calculus 30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下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20 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升高二暑假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選修科目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上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30A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上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1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30B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下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 </a:t>
                      </a: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下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總計</a:t>
                      </a:r>
                      <a:r>
                        <a:rPr lang="en-US" altLang="zh-TW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2,800</a:t>
                      </a:r>
                      <a:endParaRPr lang="zh-TW" altLang="en-US" sz="2000" b="1" dirty="0">
                        <a:solidFill>
                          <a:srgbClr val="FF0000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台幣約</a:t>
                      </a:r>
                      <a:r>
                        <a:rPr lang="en-US" altLang="zh-TW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8.16</a:t>
                      </a:r>
                      <a:r>
                        <a:rPr lang="zh-TW" altLang="en-US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萬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1255" name="文字方塊 4">
            <a:extLst>
              <a:ext uri="{FF2B5EF4-FFF2-40B4-BE49-F238E27FC236}">
                <a16:creationId xmlns:a16="http://schemas.microsoft.com/office/drawing/2014/main" id="{F1BF7FA6-B35C-427F-B622-6E3E478863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9272" y="6369635"/>
            <a:ext cx="957345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*此學費為</a:t>
            </a:r>
            <a:r>
              <a:rPr kumimoji="0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10</a:t>
            </a:r>
            <a:r>
              <a:rPr kumimoji="0" lang="zh-TW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學年之費用，實際學費依教育局所訂調整        *匯率以</a:t>
            </a:r>
            <a:r>
              <a:rPr kumimoji="0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:22</a:t>
            </a:r>
            <a:r>
              <a:rPr kumimoji="0" lang="zh-TW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計算，實際費用依當時匯率計算</a:t>
            </a:r>
            <a:endParaRPr kumimoji="0" lang="en-US" altLang="zh-TW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9" name="文字方塊 5">
            <a:extLst>
              <a:ext uri="{FF2B5EF4-FFF2-40B4-BE49-F238E27FC236}">
                <a16:creationId xmlns:a16="http://schemas.microsoft.com/office/drawing/2014/main" id="{BEF5A2E2-88EA-43D5-BC06-37B2DF637F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3253" y="1826283"/>
            <a:ext cx="3262432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每位學生</a:t>
            </a:r>
            <a:endParaRPr kumimoji="0" lang="en-US" altLang="zh-TW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拿大課程費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4387862F-D5CD-49F0-B7E6-B9628B6DBBEF}"/>
              </a:ext>
            </a:extLst>
          </p:cNvPr>
          <p:cNvSpPr/>
          <p:nvPr/>
        </p:nvSpPr>
        <p:spPr>
          <a:xfrm>
            <a:off x="838169" y="3243506"/>
            <a:ext cx="3992599" cy="1846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5</a:t>
            </a: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人以上開班</a:t>
            </a:r>
            <a:endParaRPr kumimoji="0" lang="en-US" altLang="zh-TW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費用每學期由學校收齊後</a:t>
            </a:r>
            <a:endParaRPr kumimoji="0" lang="en-US" altLang="zh-TW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幣匯款至薩省教育局帳戶</a:t>
            </a:r>
            <a:endParaRPr kumimoji="0" lang="en-US" altLang="zh-TW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018856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018332DB-F8C3-45A4-8906-CD063715C90C}"/>
              </a:ext>
            </a:extLst>
          </p:cNvPr>
          <p:cNvSpPr/>
          <p:nvPr/>
        </p:nvSpPr>
        <p:spPr>
          <a:xfrm>
            <a:off x="460327" y="445638"/>
            <a:ext cx="4748284" cy="5813946"/>
          </a:xfrm>
          <a:prstGeom prst="rect">
            <a:avLst/>
          </a:prstGeom>
          <a:solidFill>
            <a:srgbClr val="0066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108F92C4-F0A5-441A-B808-06BA1E1CC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268504-A363-4DF9-B0F5-E031268B6357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graphicFrame>
        <p:nvGraphicFramePr>
          <p:cNvPr id="4" name="表格 5">
            <a:extLst>
              <a:ext uri="{FF2B5EF4-FFF2-40B4-BE49-F238E27FC236}">
                <a16:creationId xmlns:a16="http://schemas.microsoft.com/office/drawing/2014/main" id="{4F634F8F-EDB6-4127-A663-61AC3DB8AF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3002381"/>
              </p:ext>
            </p:extLst>
          </p:nvPr>
        </p:nvGraphicFramePr>
        <p:xfrm>
          <a:off x="5330132" y="513805"/>
          <a:ext cx="6473850" cy="53835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7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7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79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047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科目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修課時間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50000"/>
                        </a:lnSpc>
                      </a:pPr>
                      <a:r>
                        <a:rPr lang="zh-TW" altLang="en-US" sz="2000" b="1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加拿大學分費用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10A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上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10B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下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Pre- Calculus 30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下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20 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一升高二暑假</a:t>
                      </a:r>
                      <a:endParaRPr lang="en-US" altLang="zh-TW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</a:t>
                      </a: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加拿大實體課</a:t>
                      </a: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5,0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選修科目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上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30A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上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1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nglish 30B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下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 </a:t>
                      </a: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二下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b="1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,600</a:t>
                      </a:r>
                      <a:endParaRPr lang="zh-TW" altLang="en-US" sz="2000" b="1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總計</a:t>
                      </a:r>
                      <a:r>
                        <a:rPr lang="en-US" altLang="zh-TW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CAD16,200</a:t>
                      </a:r>
                      <a:endParaRPr lang="zh-TW" altLang="en-US" sz="2000" b="1" dirty="0">
                        <a:solidFill>
                          <a:srgbClr val="FF0000"/>
                        </a:solidFill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TW" altLang="en-US" sz="16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zh-TW" altLang="en-US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台幣約</a:t>
                      </a:r>
                      <a:r>
                        <a:rPr lang="en-US" altLang="zh-TW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5.64</a:t>
                      </a:r>
                      <a:r>
                        <a:rPr lang="zh-TW" altLang="en-US" sz="2000" b="1" dirty="0">
                          <a:solidFill>
                            <a:srgbClr val="FF0000"/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萬</a:t>
                      </a:r>
                    </a:p>
                  </a:txBody>
                  <a:tcPr marL="91444" marR="9144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1255" name="文字方塊 4">
            <a:extLst>
              <a:ext uri="{FF2B5EF4-FFF2-40B4-BE49-F238E27FC236}">
                <a16:creationId xmlns:a16="http://schemas.microsoft.com/office/drawing/2014/main" id="{F1BF7FA6-B35C-427F-B622-6E3E478863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9272" y="6369635"/>
            <a:ext cx="957345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*此學費為</a:t>
            </a:r>
            <a:r>
              <a:rPr kumimoji="0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10</a:t>
            </a:r>
            <a:r>
              <a:rPr kumimoji="0" lang="zh-TW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學年之費用，實際學費依教育局所訂調整        *匯率以</a:t>
            </a:r>
            <a:r>
              <a:rPr kumimoji="0" lang="en-US" altLang="zh-TW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:22</a:t>
            </a:r>
            <a:r>
              <a:rPr kumimoji="0" lang="zh-TW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計算，實際費用依當時匯率計算</a:t>
            </a:r>
            <a:endParaRPr kumimoji="0" lang="en-US" altLang="zh-TW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9" name="文字方塊 5">
            <a:extLst>
              <a:ext uri="{FF2B5EF4-FFF2-40B4-BE49-F238E27FC236}">
                <a16:creationId xmlns:a16="http://schemas.microsoft.com/office/drawing/2014/main" id="{BEF5A2E2-88EA-43D5-BC06-37B2DF637F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3253" y="1826283"/>
            <a:ext cx="3262432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每位學生</a:t>
            </a:r>
            <a:endParaRPr kumimoji="0" lang="en-US" altLang="zh-TW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拿大課程費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4387862F-D5CD-49F0-B7E6-B9628B6DBBEF}"/>
              </a:ext>
            </a:extLst>
          </p:cNvPr>
          <p:cNvSpPr/>
          <p:nvPr/>
        </p:nvSpPr>
        <p:spPr>
          <a:xfrm>
            <a:off x="838169" y="3243506"/>
            <a:ext cx="3992599" cy="1846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5</a:t>
            </a: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人以上開班</a:t>
            </a:r>
            <a:endParaRPr kumimoji="0" lang="en-US" altLang="zh-TW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費用每學期由學校收齊後</a:t>
            </a:r>
            <a:endParaRPr kumimoji="0" lang="en-US" altLang="zh-TW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幣匯款至薩省教育局帳戶</a:t>
            </a:r>
            <a:endParaRPr kumimoji="0" lang="en-US" altLang="zh-TW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11" name="文字方塊 10">
            <a:extLst>
              <a:ext uri="{FF2B5EF4-FFF2-40B4-BE49-F238E27FC236}">
                <a16:creationId xmlns:a16="http://schemas.microsoft.com/office/drawing/2014/main" id="{BED5E1D1-84C7-4F4B-920C-32BD91A65F9D}"/>
              </a:ext>
            </a:extLst>
          </p:cNvPr>
          <p:cNvSpPr txBox="1"/>
          <p:nvPr/>
        </p:nvSpPr>
        <p:spPr>
          <a:xfrm>
            <a:off x="-213531" y="872076"/>
            <a:ext cx="6096000" cy="7405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3200" b="1" dirty="0">
                <a:solidFill>
                  <a:prstClr val="black"/>
                </a:solidFill>
                <a:highlight>
                  <a:srgbClr val="FFF364"/>
                </a:highlight>
                <a:latin typeface="微軟正黑體" panose="020B0604030504040204" pitchFamily="34" charset="-120"/>
                <a:ea typeface="微軟正黑體" panose="020B0604030504040204" pitchFamily="34" charset="-120"/>
              </a:rPr>
              <a:t>暑期出國</a:t>
            </a:r>
            <a:endParaRPr kumimoji="0" lang="en-US" altLang="zh-TW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864381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E8678CE1-8EC4-4F24-9FC9-4B3950BF82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18583" y="2212450"/>
            <a:ext cx="8915399" cy="2262781"/>
          </a:xfrm>
        </p:spPr>
        <p:txBody>
          <a:bodyPr>
            <a:normAutofit fontScale="90000"/>
          </a:bodyPr>
          <a:lstStyle/>
          <a:p>
            <a:r>
              <a:rPr lang="en-US" altLang="zh-TW" sz="16600" dirty="0"/>
              <a:t>Q</a:t>
            </a:r>
            <a:r>
              <a:rPr lang="zh-TW" altLang="en-US" sz="16600" dirty="0"/>
              <a:t> </a:t>
            </a:r>
            <a:r>
              <a:rPr lang="en-US" altLang="zh-TW" sz="16600" dirty="0"/>
              <a:t>&amp;</a:t>
            </a:r>
            <a:r>
              <a:rPr lang="zh-TW" altLang="en-US" sz="16600" dirty="0"/>
              <a:t> </a:t>
            </a:r>
            <a:r>
              <a:rPr lang="en-US" altLang="zh-TW" sz="16600" dirty="0"/>
              <a:t>A</a:t>
            </a:r>
            <a:endParaRPr lang="zh-TW" altLang="en-US" sz="16600" dirty="0"/>
          </a:p>
        </p:txBody>
      </p:sp>
    </p:spTree>
    <p:extLst>
      <p:ext uri="{BB962C8B-B14F-4D97-AF65-F5344CB8AC3E}">
        <p14:creationId xmlns:p14="http://schemas.microsoft.com/office/powerpoint/2010/main" val="386968562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8DF83B8A-78F2-4C05-9A70-EDC5CDF41F5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191CFE-8839-40F1-BF6D-EEF376483E46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1FF703F7-7B00-4A6F-BECB-F56E3843B731}"/>
              </a:ext>
            </a:extLst>
          </p:cNvPr>
          <p:cNvSpPr txBox="1"/>
          <p:nvPr/>
        </p:nvSpPr>
        <p:spPr>
          <a:xfrm>
            <a:off x="802418" y="2241329"/>
            <a:ext cx="908454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TW" altLang="en-US" sz="2400" b="1" noProof="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台南市天主教德光高級中學</a:t>
            </a:r>
            <a:endParaRPr kumimoji="0" lang="en-US" altLang="zh-TW" sz="2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0">
              <a:lnSpc>
                <a:spcPct val="150000"/>
              </a:lnSpc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通訊地址</a:t>
            </a:r>
            <a:r>
              <a:rPr kumimoji="0" lang="en-US" altLang="zh-TW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: </a:t>
            </a:r>
            <a:r>
              <a:rPr lang="en-US" altLang="zh-TW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701</a:t>
            </a:r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台南市東區德光街</a:t>
            </a:r>
            <a:r>
              <a:rPr lang="en-US" altLang="zh-TW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106</a:t>
            </a:r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號</a:t>
            </a:r>
            <a:endParaRPr lang="en-US" altLang="zh-TW" sz="24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0">
              <a:lnSpc>
                <a:spcPct val="150000"/>
              </a:lnSpc>
              <a:defRPr/>
            </a:pPr>
            <a:r>
              <a:rPr lang="zh-TW" altLang="en-US" sz="2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連絡電話</a:t>
            </a:r>
            <a:r>
              <a:rPr kumimoji="0" lang="en-US" altLang="zh-TW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</a:rPr>
              <a:t>: (06)289-4560#220</a:t>
            </a:r>
          </a:p>
        </p:txBody>
      </p:sp>
      <p:sp>
        <p:nvSpPr>
          <p:cNvPr id="13" name="文字方塊 12">
            <a:extLst>
              <a:ext uri="{FF2B5EF4-FFF2-40B4-BE49-F238E27FC236}">
                <a16:creationId xmlns:a16="http://schemas.microsoft.com/office/drawing/2014/main" id="{17E5CC52-8E36-4B75-89B2-06A84FAFC966}"/>
              </a:ext>
            </a:extLst>
          </p:cNvPr>
          <p:cNvSpPr txBox="1"/>
          <p:nvPr/>
        </p:nvSpPr>
        <p:spPr>
          <a:xfrm>
            <a:off x="802418" y="1037873"/>
            <a:ext cx="6887818" cy="902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聯繫資訊</a:t>
            </a:r>
            <a:endParaRPr kumimoji="0" lang="en-US" altLang="zh-TW" sz="4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pic>
        <p:nvPicPr>
          <p:cNvPr id="5" name="Google Shape;88;p1" descr="一張含有 文字 的圖片&#10;&#10;自動產生的描述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456691" y="4238806"/>
            <a:ext cx="3117069" cy="1591822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圖片 5">
            <a:extLst>
              <a:ext uri="{FF2B5EF4-FFF2-40B4-BE49-F238E27FC236}">
                <a16:creationId xmlns:a16="http://schemas.microsoft.com/office/drawing/2014/main" id="{2B64A2F0-369B-4D3C-8913-4E3FF73AF8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1323" y="4273097"/>
            <a:ext cx="1623076" cy="1615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56161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標題 3">
            <a:extLst>
              <a:ext uri="{FF2B5EF4-FFF2-40B4-BE49-F238E27FC236}">
                <a16:creationId xmlns:a16="http://schemas.microsoft.com/office/drawing/2014/main" id="{93EB986F-24FB-4FF5-B3C4-8204D37960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1535" y="1091953"/>
            <a:ext cx="8915399" cy="782430"/>
          </a:xfrm>
        </p:spPr>
        <p:txBody>
          <a:bodyPr>
            <a:normAutofit fontScale="90000"/>
          </a:bodyPr>
          <a:lstStyle/>
          <a:p>
            <a:r>
              <a:rPr lang="zh-TW" altLang="en-US" b="1" dirty="0"/>
              <a:t>簡報電子檔</a:t>
            </a:r>
          </a:p>
        </p:txBody>
      </p:sp>
      <p:sp>
        <p:nvSpPr>
          <p:cNvPr id="2" name="AutoShape 4" descr="data:image/png;base64,iVBORw0KGgoAAAANSUhEUgAAAKgAAACoCAYAAAB0S6W0AAAAAXNSR0IArs4c6QAADJtJREFUeF7tndly40gMBNf//9He2BnJG1QMlZ0qkKY85dc+gC4kgKYuf3x+fn7+078qcFEFPgroRSNTt34pUEALwqUVKKCXDk+dK6Bl4NIKFNBLh6fOFdAycGkFCuilw1PnCmgZuLQCBfTS4alzy4B+fHycqha9wZX687i/3W96/aO4j/6QPasX7Xd0sMnfu/0CelOigF6rABXQh48gFNACqroGtQAL1KPxtMVNr2+L/zMeL7d4AkjR+N+HAh7uuLQ/zbfjBLA9zzRw0wlp/Tv6/Hv7F9AdZShBbMBswqQV2iYc+WfPO5UABbSA/lKggEIKWoFovh23FcdWFOtPK+hvhccqqL0jUQBonAChFk3A2BZF5z/7PFYf0oPORwlO+x9+Bz36AOn+Fjg7n/wroNuXsaiA3PVvBb0pQYJRBSig25SmhCS9C+jBL2vZlmdbMlV4u1+agPa8Px7QNEMpIBYAEpzs2XECkICh85G+ZJ/Wk15vX0FTAQgICuDRAND5CJCj/SP75H8Bha/7F9AtYqQH3bEpIWj/H/cUn2aoFYwCRBWB7NlxqmAEDHUI0pfs03rS6+1bvBWI5lPAaD0JTgBa+2SP9rMAUYJSQtjzF1AgLg2IBYTmEwCUQASIHSd7NgF+XIu3AtF8C4gFhgCw9ltBHxQjgdOKc/T+BfT5OzlH60/7H15BLQBUMWyLoAR5t/2snnR+qvivArTq56v7j73VuerobqbAOzt0QApQAd0qb/U4Or6toPAdJApYWoFsAlkgaP/Uf+uP7ZAFtIBuGKCEtA9hBDB1wHFAyaF03ApIAnTcPSSl8aP1qwnw8h2UHEjHC+j2l9nPTrA0frS+gIYt/W9PEAIsHS+gBXTDkK3AKYC0fhxQMnj0uBWYBLD7TT8F01M3+W+fkum8R8fv1f2X76CvGphaRwLTeBrQAjoVSbdPAb3pRXfOAurAmppdQAvoFEuH7LMMKLVQulNZ7+0djFo42Sd7dD67Pq3Y9rzWP9KLxskerb+PF9CdCno0AAV0DdECWkB/KUAdYg2n/2e1goJiVnASlPaz61tB15BfrqDU8ihA6XoCJH3Kpv3pfLSewkHApuPT9imeFA/yR99BySEKYLreAjAdUDqf9Y8CaB9K6bwEBK1Pz0/r9/xrBb0pQ4CRwLR+GhAL8LR9KjiUgORPK6j8JwoFdPvpqssBShXCBjBtKZSBtsKQP1QRpu1ZPUmP9HwE5PT+uoIW0G2IKCDT4wRIAYX/NGcz3gaQAkABtPZsQraCPv+ANXWg+CHJBmwamAK6VYDiQUDQ+umCQ/6MA0oHsIDSfDrgtOBkj/ylik37U0W29inByd60vqv8LL/MRAdIBSDBbUBpfmqP1hfQ5xW/gD4QRIIcXSHs/rYg2PlHJ5jdvy1e/qBtWoFbQU+uoJQR1OIp4LYCTM9PK9z0+e1+pK+NHyUYjZP/1NHu65fvoPaA1sFp4MhfK7Cdn56f1tM4AZAmZKoH+VdAw7c6KcAWoHS/VtAHBVJBKQMpw6YrLp2H/CUgCSCyn+5PHcX6l+pB8dUVNAWCBLABIMFXBfgSAt4ps/6TXum41YsSgICzek7FZ/kOSoKSQzbAaQCsoBRA6z/plY6n+tB5yL/U/mp8CuhN6QLqfqysgEoF0owvoD8MUGoRxFcKBK2nOxX5R+O0P43b/e0VysaH9LT+0n6Ht3grwLTAVgCaTwGg81IFt/YpgN+9n9WD5u/p//Id9FWDU0/NFKC0ghGwtD+N2/2nEzzdj+Jv41NA5ctIFqBW0It9YJlakM1Qqjg0TkDROJ2HALTnJX+oQpG9d9NrvIJSQElACgABQS3kbADsec/27+p6FVAgghKOEqaAbhWwehXQAmqL9tP50wk9Dii1aKsGtSASxNqj+VQB7DjpRee369M7qNXb6rG6/7e9zGRb4uqBCLzV8VRwAm4aIOsv6WD1tvZX9y+gO5FKBS+gM2+dFtAC+kcFVivcfXGa0ON30OkWZVs+tSg7bs9DAaSApeclf+04+UPnnV7/Bf7nomUSnFoaXfLpgBY4O58CmvpPMqf62fhYf2g+xc+uL6APihbQrSAEPBWAdH0BLaBPGUsBS9drQKmEUwskh+04ZTBVxFdbzupDAflH57Xrab6ND80ne3RlWdV/+Sm+gF6rBRIABBAlcAEN/112GoDVDN6zM10BrT8FFAgggShD0/EC+kESPB0n/X9cBaUD2wqRXinsegpIWjGn/Tl7v+n4re43dgctoK6gUQeihCmgssUX0AL6TIFXO1Ar6I6q351wraC/FVgG9NUMuAtN623Lo3q1eseZ8s/aoxZNCULnJ8BJb2s/Pf/uqyVT78WTYAX0uUJH65MCZ4EmHlbHW0FvSqWApBUktU8BL6DDD1UkOI1bYFJArL22eIrgyXfQNXf+n0XAUIDJXgqUtU8VzI7T+Y4eT+Ozqv9pLd4KlgpA9lYFon32HrLsQ0oB/bPSBXSVQHmFKaBbBWzB+Ur8s57iLQf2QPSUScBY/9rit58FoI5k46kBpYCQgwQAAUYtcBpAEtT6a89PepJ9skd62f2Pis9yiy+gx/x6294dtoDKp/gCWkCfVeVW0PAfb9mW1xbvPm/6doCmdxiq2AQcCUbjdEcj/+z+dJ7UH1p/drzoCnP4Q9LZB7YBsACRoGnFLaB/VuCwh6QC6u6sBbSAbhRoBc0SyHYU6nB7CTpWQckB2wJJgPQOaPe39tL5VFFth6L9KH603vqzqn8BJeV3xinhCuhzYQuo/N695bSAbhVrBQWCCBgaL6BbBVYr3NfLQfL/UK3uf1iLpzsNAWMzkuzZlnu2f3ReeqhbDfhqItrzT9sffx2UDm4FpoBZewWUFHvesm38nLX92a2gN21sAKYTiPaz/qWAtII+3FkoAFZwajlpAAgo8teel+bTecmf6Q5j7e3NH6ugqYBpwNM76JSg931ID7JngSP97H7kH9mj9av+FFBS8sXxAvpcuAL68DootbAXOdxdVkAL6FMFKEPTFkVAF9CLAUp3QHoooYCfDRRVXJsABGy6H+lH56H42f2n5o/dQemABTT714CpfgX0QYG0YlhB04ydrmAEFI3T+clf0oM6Uro/2V8dbwW9KUUBmQZqer/VgN/n/fWA2pZPAhNAVHGm/aH96DzWX7sfdTC7n51P9lfjeVgFpQBSBtN6Eoz2JwFp/9S/Arq9k+/pXUBvyhDQBOxqRdgNhPy4mvUnPR/Zo4S1V5qvq8jqbzOlGZ9WLAsABST1hwJiA0r+2v2mzzdtfzWeL1dQ63A63wZwVYC9hwZab/2xQFPFsePWvi1IlBCk53iLT4Gz6y0QVhAKuA0YnY/8I3/seAGliITjBdS90E96UYLYhGwFlQ8RaQBoPQFA+Wj3twCQf2T/7QClA1NA7LgVkPZP/Sd/bMtNgbv6eooH6amf4tMAk8PpHYn2T/0nQQto9mt48UNSGmACqIA+/0ntd0sAijclfCsoKfgwToK+G0BHXxFIXtIzBnTVADn65Yj8Ep21Tx2A9iMA7UPFqi73eal/1n97HvLPnreADldIG1AbMAKAAKRx8idNcNp//A5KglmHSEAaJ3upwNY+2SN/7Z2c/KNx8ofOM81DK2grKDG5GX97QOkAVBEow6fHyR+KnvWH7JF+9FBD/k6Pkz92/PAWTwLbANkDTgNDAZ22R/qRHuTv9Dj5Y8cLKLxVau9QBTT7bMCq3ssft0sD0gq6VYAqjNVrukLSfuS/Hf/rKqgNMGX0dIISADRu/aX9rF52P9q/gIY/CV5A3XvtBDAl2PjLTHTJpwyyAFALSe09rrf+UYDScQqwjYfV62j/Cyi8tVpAs/+jRABTgv04QEkQAo7Wk6DTFZbs0XloPflLekxX6B9/ByVBKaC0Pg24DSjZo/PQ+gIKEac7pB0nwCigtD4NeAHdKkx6tsUPf8eJKlIB/WZAqQLROAWYKuDZFXe1AnxVApkQpJc9LyUIncfGx8br8DsoCUrjVgCaT+Pkz5TABfS3Aq/GY+ytThvwFAA6MI1bf9P9qIJZf1pBHxRLA0QBsPvTfBonf9IEovXW/uP8AgqApgLTehsAAoL2IwDs/nQ+GrcVl+6Q1h7pRfbIf1r/dTVa/XU7MkgC2PFpgWi/App97ZkS2OpbQMPPh05fIWyAXw34XqGg89C49b8VVH6N2QbcBsx2ENuxVgP+YwG1And+FZhQYPllpglj3aMKWAUKqFWs809VoICeKneNWQUKqFWs809VoICeKneNWQUKqFWs809VoICeKneNWQUKqFWs809VoICeKneNWQX+BTpnoya3Vi7D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3" name="AutoShape 6" descr="data:image/png;base64,iVBORw0KGgoAAAANSUhEUgAAAKgAAACoCAYAAAB0S6W0AAAAAXNSR0IArs4c6QAADJtJREFUeF7tndly40gMBNf//9He2BnJG1QMlZ0qkKY85dc+gC4kgKYuf3x+fn7+078qcFEFPgroRSNTt34pUEALwqUVKKCXDk+dK6Bl4NIKFNBLh6fOFdAycGkFCuilw1PnCmgZuLQCBfTS4alzy4B+fHycqha9wZX687i/3W96/aO4j/6QPasX7Xd0sMnfu/0CelOigF6rABXQh48gFNACqroGtQAL1KPxtMVNr2+L/zMeL7d4AkjR+N+HAh7uuLQ/zbfjBLA9zzRw0wlp/Tv6/Hv7F9AdZShBbMBswqQV2iYc+WfPO5UABbSA/lKggEIKWoFovh23FcdWFOtPK+hvhccqqL0jUQBonAChFk3A2BZF5z/7PFYf0oPORwlO+x9+Bz36AOn+Fjg7n/wroNuXsaiA3PVvBb0pQYJRBSig25SmhCS9C+jBL2vZlmdbMlV4u1+agPa8Px7QNEMpIBYAEpzs2XECkICh85G+ZJ/Wk15vX0FTAQgICuDRAND5CJCj/SP75H8Bha/7F9AtYqQH3bEpIWj/H/cUn2aoFYwCRBWB7NlxqmAEDHUI0pfs03rS6+1bvBWI5lPAaD0JTgBa+2SP9rMAUYJSQtjzF1AgLg2IBYTmEwCUQASIHSd7NgF+XIu3AtF8C4gFhgCw9ltBHxQjgdOKc/T+BfT5OzlH60/7H15BLQBUMWyLoAR5t/2snnR+qvivArTq56v7j73VuerobqbAOzt0QApQAd0qb/U4Or6toPAdJApYWoFsAlkgaP/Uf+uP7ZAFtIBuGKCEtA9hBDB1wHFAyaF03ApIAnTcPSSl8aP1qwnw8h2UHEjHC+j2l9nPTrA0frS+gIYt/W9PEAIsHS+gBXTDkK3AKYC0fhxQMnj0uBWYBLD7TT8F01M3+W+fkum8R8fv1f2X76CvGphaRwLTeBrQAjoVSbdPAb3pRXfOAurAmppdQAvoFEuH7LMMKLVQulNZ7+0djFo42Sd7dD67Pq3Y9rzWP9KLxskerb+PF9CdCno0AAV0DdECWkB/KUAdYg2n/2e1goJiVnASlPaz61tB15BfrqDU8ihA6XoCJH3Kpv3pfLSewkHApuPT9imeFA/yR99BySEKYLreAjAdUDqf9Y8CaB9K6bwEBK1Pz0/r9/xrBb0pQ4CRwLR+GhAL8LR9KjiUgORPK6j8JwoFdPvpqssBShXCBjBtKZSBtsKQP1QRpu1ZPUmP9HwE5PT+uoIW0G2IKCDT4wRIAYX/NGcz3gaQAkABtPZsQraCPv+ANXWg+CHJBmwamAK6VYDiQUDQ+umCQ/6MA0oHsIDSfDrgtOBkj/ylik37U0W29inByd60vqv8LL/MRAdIBSDBbUBpfmqP1hfQ5xW/gD4QRIIcXSHs/rYg2PlHJ5jdvy1e/qBtWoFbQU+uoJQR1OIp4LYCTM9PK9z0+e1+pK+NHyUYjZP/1NHu65fvoPaA1sFp4MhfK7Cdn56f1tM4AZAmZKoH+VdAw7c6KcAWoHS/VtAHBVJBKQMpw6YrLp2H/CUgCSCyn+5PHcX6l+pB8dUVNAWCBLABIMFXBfgSAt4ps/6TXum41YsSgICzek7FZ/kOSoKSQzbAaQCsoBRA6z/plY6n+tB5yL/U/mp8CuhN6QLqfqysgEoF0owvoD8MUGoRxFcKBK2nOxX5R+O0P43b/e0VysaH9LT+0n6Ht3grwLTAVgCaTwGg81IFt/YpgN+9n9WD5u/p//Id9FWDU0/NFKC0ghGwtD+N2/2nEzzdj+Jv41NA5ctIFqBW0It9YJlakM1Qqjg0TkDROJ2HALTnJX+oQpG9d9NrvIJSQElACgABQS3kbADsec/27+p6FVAgghKOEqaAbhWwehXQAmqL9tP50wk9Dii1aKsGtSASxNqj+VQB7DjpRee369M7qNXb6rG6/7e9zGRb4uqBCLzV8VRwAm4aIOsv6WD1tvZX9y+gO5FKBS+gM2+dFtAC+kcFVivcfXGa0ON30OkWZVs+tSg7bs9DAaSApeclf+04+UPnnV7/Bf7nomUSnFoaXfLpgBY4O58CmvpPMqf62fhYf2g+xc+uL6APihbQrSAEPBWAdH0BLaBPGUsBS9drQKmEUwskh+04ZTBVxFdbzupDAflH57Xrab6ND80ne3RlWdV/+Sm+gF6rBRIABBAlcAEN/112GoDVDN6zM10BrT8FFAgggShD0/EC+kESPB0n/X9cBaUD2wqRXinsegpIWjGn/Tl7v+n4re43dgctoK6gUQeihCmgssUX0AL6TIFXO1Ar6I6q351wraC/FVgG9NUMuAtN623Lo3q1eseZ8s/aoxZNCULnJ8BJb2s/Pf/uqyVT78WTYAX0uUJH65MCZ4EmHlbHW0FvSqWApBUktU8BL6DDD1UkOI1bYFJArL22eIrgyXfQNXf+n0XAUIDJXgqUtU8VzI7T+Y4eT+Ozqv9pLd4KlgpA9lYFon32HrLsQ0oB/bPSBXSVQHmFKaBbBWzB+Ur8s57iLQf2QPSUScBY/9rit58FoI5k46kBpYCQgwQAAUYtcBpAEtT6a89PepJ9skd62f2Pis9yiy+gx/x6294dtoDKp/gCWkCfVeVW0PAfb9mW1xbvPm/6doCmdxiq2AQcCUbjdEcj/+z+dJ7UH1p/drzoCnP4Q9LZB7YBsACRoGnFLaB/VuCwh6QC6u6sBbSAbhRoBc0SyHYU6nB7CTpWQckB2wJJgPQOaPe39tL5VFFth6L9KH603vqzqn8BJeV3xinhCuhzYQuo/N695bSAbhVrBQWCCBgaL6BbBVYr3NfLQfL/UK3uf1iLpzsNAWMzkuzZlnu2f3ReeqhbDfhqItrzT9sffx2UDm4FpoBZewWUFHvesm38nLX92a2gN21sAKYTiPaz/qWAtII+3FkoAFZwajlpAAgo8teel+bTecmf6Q5j7e3NH6ugqYBpwNM76JSg931ID7JngSP97H7kH9mj9av+FFBS8sXxAvpcuAL68DootbAXOdxdVkAL6FMFKEPTFkVAF9CLAUp3QHoooYCfDRRVXJsABGy6H+lH56H42f2n5o/dQemABTT714CpfgX0QYG0YlhB04ydrmAEFI3T+clf0oM6Uro/2V8dbwW9KUUBmQZqer/VgN/n/fWA2pZPAhNAVHGm/aH96DzWX7sfdTC7n51P9lfjeVgFpQBSBtN6Eoz2JwFp/9S/Arq9k+/pXUBvyhDQBOxqRdgNhPy4mvUnPR/Zo4S1V5qvq8jqbzOlGZ9WLAsABST1hwJiA0r+2v2mzzdtfzWeL1dQ63A63wZwVYC9hwZab/2xQFPFsePWvi1IlBCk53iLT4Gz6y0QVhAKuA0YnY/8I3/seAGliITjBdS90E96UYLYhGwFlQ8RaQBoPQFA+Wj3twCQf2T/7QClA1NA7LgVkPZP/Sd/bMtNgbv6eooH6amf4tMAk8PpHYn2T/0nQQto9mt48UNSGmACqIA+/0ntd0sAijclfCsoKfgwToK+G0BHXxFIXtIzBnTVADn65Yj8Ep21Tx2A9iMA7UPFqi73eal/1n97HvLPnreADldIG1AbMAKAAKRx8idNcNp//A5KglmHSEAaJ3upwNY+2SN/7Z2c/KNx8ofOM81DK2grKDG5GX97QOkAVBEow6fHyR+KnvWH7JF+9FBD/k6Pkz92/PAWTwLbANkDTgNDAZ22R/qRHuTv9Dj5Y8cLKLxVau9QBTT7bMCq3ssft0sD0gq6VYAqjNVrukLSfuS/Hf/rKqgNMGX0dIISADRu/aX9rF52P9q/gIY/CV5A3XvtBDAl2PjLTHTJpwyyAFALSe09rrf+UYDScQqwjYfV62j/Cyi8tVpAs/+jRABTgv04QEkQAo7Wk6DTFZbs0XloPflLekxX6B9/ByVBKaC0Pg24DSjZo/PQ+gIKEac7pB0nwCigtD4NeAHdKkx6tsUPf8eJKlIB/WZAqQLROAWYKuDZFXe1AnxVApkQpJc9LyUIncfGx8br8DsoCUrjVgCaT+Pkz5TABfS3Aq/GY+ytThvwFAA6MI1bf9P9qIJZf1pBHxRLA0QBsPvTfBonf9IEovXW/uP8AgqApgLTehsAAoL2IwDs/nQ+GrcVl+6Q1h7pRfbIf1r/dTVa/XU7MkgC2PFpgWi/App97ZkS2OpbQMPPh05fIWyAXw34XqGg89C49b8VVH6N2QbcBsx2ENuxVgP+YwG1And+FZhQYPllpglj3aMKWAUKqFWs809VoICeKneNWQUKqFWs809VoICeKneNWQUKqFWs809VoICeKneNWQUKqFWs809VoICeKneNWQX+BTpnoya3Vi7DAAAAAElFTkSuQmCC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sp>
        <p:nvSpPr>
          <p:cNvPr id="5" name="AutoShape 8" descr="data:image/png;base64,iVBORw0KGgoAAAANSUhEUgAAAKgAAACoCAYAAAB0S6W0AAAAAXNSR0IArs4c6QAADJtJREFUeF7tndly40gMBNf//9He2BnJG1QMlZ0qkKY85dc+gC4kgKYuf3x+fn7+078qcFEFPgroRSNTt34pUEALwqUVKKCXDk+dK6Bl4NIKFNBLh6fOFdAycGkFCuilw1PnCmgZuLQCBfTS4alzy4B+fHycqha9wZX687i/3W96/aO4j/6QPasX7Xd0sMnfu/0CelOigF6rABXQh48gFNACqroGtQAL1KPxtMVNr2+L/zMeL7d4AkjR+N+HAh7uuLQ/zbfjBLA9zzRw0wlp/Tv6/Hv7F9AdZShBbMBswqQV2iYc+WfPO5UABbSA/lKggEIKWoFovh23FcdWFOtPK+hvhccqqL0jUQBonAChFk3A2BZF5z/7PFYf0oPORwlO+x9+Bz36AOn+Fjg7n/wroNuXsaiA3PVvBb0pQYJRBSig25SmhCS9C+jBL2vZlmdbMlV4u1+agPa8Px7QNEMpIBYAEpzs2XECkICh85G+ZJ/Wk15vX0FTAQgICuDRAND5CJCj/SP75H8Bha/7F9AtYqQH3bEpIWj/H/cUn2aoFYwCRBWB7NlxqmAEDHUI0pfs03rS6+1bvBWI5lPAaD0JTgBa+2SP9rMAUYJSQtjzF1AgLg2IBYTmEwCUQASIHSd7NgF+XIu3AtF8C4gFhgCw9ltBHxQjgdOKc/T+BfT5OzlH60/7H15BLQBUMWyLoAR5t/2snnR+qvivArTq56v7j73VuerobqbAOzt0QApQAd0qb/U4Or6toPAdJApYWoFsAlkgaP/Uf+uP7ZAFtIBuGKCEtA9hBDB1wHFAyaF03ApIAnTcPSSl8aP1qwnw8h2UHEjHC+j2l9nPTrA0frS+gIYt/W9PEAIsHS+gBXTDkK3AKYC0fhxQMnj0uBWYBLD7TT8F01M3+W+fkum8R8fv1f2X76CvGphaRwLTeBrQAjoVSbdPAb3pRXfOAurAmppdQAvoFEuH7LMMKLVQulNZ7+0djFo42Sd7dD67Pq3Y9rzWP9KLxskerb+PF9CdCno0AAV0DdECWkB/KUAdYg2n/2e1goJiVnASlPaz61tB15BfrqDU8ihA6XoCJH3Kpv3pfLSewkHApuPT9imeFA/yR99BySEKYLreAjAdUDqf9Y8CaB9K6bwEBK1Pz0/r9/xrBb0pQ4CRwLR+GhAL8LR9KjiUgORPK6j8JwoFdPvpqssBShXCBjBtKZSBtsKQP1QRpu1ZPUmP9HwE5PT+uoIW0G2IKCDT4wRIAYX/NGcz3gaQAkABtPZsQraCPv+ANXWg+CHJBmwamAK6VYDiQUDQ+umCQ/6MA0oHsIDSfDrgtOBkj/ylik37U0W29inByd60vqv8LL/MRAdIBSDBbUBpfmqP1hfQ5xW/gD4QRIIcXSHs/rYg2PlHJ5jdvy1e/qBtWoFbQU+uoJQR1OIp4LYCTM9PK9z0+e1+pK+NHyUYjZP/1NHu65fvoPaA1sFp4MhfK7Cdn56f1tM4AZAmZKoH+VdAw7c6KcAWoHS/VtAHBVJBKQMpw6YrLp2H/CUgCSCyn+5PHcX6l+pB8dUVNAWCBLABIMFXBfgSAt4ps/6TXum41YsSgICzek7FZ/kOSoKSQzbAaQCsoBRA6z/plY6n+tB5yL/U/mp8CuhN6QLqfqysgEoF0owvoD8MUGoRxFcKBK2nOxX5R+O0P43b/e0VysaH9LT+0n6Ht3grwLTAVgCaTwGg81IFt/YpgN+9n9WD5u/p//Id9FWDU0/NFKC0ghGwtD+N2/2nEzzdj+Jv41NA5ctIFqBW0It9YJlakM1Qqjg0TkDROJ2HALTnJX+oQpG9d9NrvIJSQElACgABQS3kbADsec/27+p6FVAgghKOEqaAbhWwehXQAmqL9tP50wk9Dii1aKsGtSASxNqj+VQB7DjpRee369M7qNXb6rG6/7e9zGRb4uqBCLzV8VRwAm4aIOsv6WD1tvZX9y+gO5FKBS+gM2+dFtAC+kcFVivcfXGa0ON30OkWZVs+tSg7bs9DAaSApeclf+04+UPnnV7/Bf7nomUSnFoaXfLpgBY4O58CmvpPMqf62fhYf2g+xc+uL6APihbQrSAEPBWAdH0BLaBPGUsBS9drQKmEUwskh+04ZTBVxFdbzupDAflH57Xrab6ND80ne3RlWdV/+Sm+gF6rBRIABBAlcAEN/112GoDVDN6zM10BrT8FFAgggShD0/EC+kESPB0n/X9cBaUD2wqRXinsegpIWjGn/Tl7v+n4re43dgctoK6gUQeihCmgssUX0AL6TIFXO1Ar6I6q351wraC/FVgG9NUMuAtN623Lo3q1eseZ8s/aoxZNCULnJ8BJb2s/Pf/uqyVT78WTYAX0uUJH65MCZ4EmHlbHW0FvSqWApBUktU8BL6DDD1UkOI1bYFJArL22eIrgyXfQNXf+n0XAUIDJXgqUtU8VzI7T+Y4eT+Ozqv9pLd4KlgpA9lYFon32HrLsQ0oB/bPSBXSVQHmFKaBbBWzB+Ur8s57iLQf2QPSUScBY/9rit58FoI5k46kBpYCQgwQAAUYtcBpAEtT6a89PepJ9skd62f2Pis9yiy+gx/x6294dtoDKp/gCWkCfVeVW0PAfb9mW1xbvPm/6doCmdxiq2AQcCUbjdEcj/+z+dJ7UH1p/drzoCnP4Q9LZB7YBsACRoGnFLaB/VuCwh6QC6u6sBbSAbhRoBc0SyHYU6nB7CTpWQckB2wJJgPQOaPe39tL5VFFth6L9KH603vqzqn8BJeV3xinhCuhzYQuo/N695bSAbhVrBQWCCBgaL6BbBVYr3NfLQfL/UK3uf1iLpzsNAWMzkuzZlnu2f3ReeqhbDfhqItrzT9sffx2UDm4FpoBZewWUFHvesm38nLX92a2gN21sAKYTiPaz/qWAtII+3FkoAFZwajlpAAgo8teel+bTecmf6Q5j7e3NH6ugqYBpwNM76JSg931ID7JngSP97H7kH9mj9av+FFBS8sXxAvpcuAL68DootbAXOdxdVkAL6FMFKEPTFkVAF9CLAUp3QHoooYCfDRRVXJsABGy6H+lH56H42f2n5o/dQemABTT714CpfgX0QYG0YlhB04ydrmAEFI3T+clf0oM6Uro/2V8dbwW9KUUBmQZqer/VgN/n/fWA2pZPAhNAVHGm/aH96DzWX7sfdTC7n51P9lfjeVgFpQBSBtN6Eoz2JwFp/9S/Arq9k+/pXUBvyhDQBOxqRdgNhPy4mvUnPR/Zo4S1V5qvq8jqbzOlGZ9WLAsABST1hwJiA0r+2v2mzzdtfzWeL1dQ63A63wZwVYC9hwZab/2xQFPFsePWvi1IlBCk53iLT4Gz6y0QVhAKuA0YnY/8I3/seAGliITjBdS90E96UYLYhGwFlQ8RaQBoPQFA+Wj3twCQf2T/7QClA1NA7LgVkPZP/Sd/bMtNgbv6eooH6amf4tMAk8PpHYn2T/0nQQto9mt48UNSGmACqIA+/0ntd0sAijclfCsoKfgwToK+G0BHXxFIXtIzBnTVADn65Yj8Ep21Tx2A9iMA7UPFqi73eal/1n97HvLPnreADldIG1AbMAKAAKRx8idNcNp//A5KglmHSEAaJ3upwNY+2SN/7Z2c/KNx8ofOM81DK2grKDG5GX97QOkAVBEow6fHyR+KnvWH7JF+9FBD/k6Pkz92/PAWTwLbANkDTgNDAZ22R/qRHuTv9Dj5Y8cLKLxVau9QBTT7bMCq3ssft0sD0gq6VYAqjNVrukLSfuS/Hf/rKqgNMGX0dIISADRu/aX9rF52P9q/gIY/CV5A3XvtBDAl2PjLTHTJpwyyAFALSe09rrf+UYDScQqwjYfV62j/Cyi8tVpAs/+jRABTgv04QEkQAo7Wk6DTFZbs0XloPflLekxX6B9/ByVBKaC0Pg24DSjZo/PQ+gIKEac7pB0nwCigtD4NeAHdKkx6tsUPf8eJKlIB/WZAqQLROAWYKuDZFXe1AnxVApkQpJc9LyUIncfGx8br8DsoCUrjVgCaT+Pkz5TABfS3Aq/GY+ytThvwFAA6MI1bf9P9qIJZf1pBHxRLA0QBsPvTfBonf9IEovXW/uP8AgqApgLTehsAAoL2IwDs/nQ+GrcVl+6Q1h7pRfbIf1r/dTVa/XU7MkgC2PFpgWi/App97ZkS2OpbQMPPh05fIWyAXw34XqGg89C49b8VVH6N2QbcBsx2ENuxVgP+YwG1And+FZhQYPllpglj3aMKWAUKqFWs809VoICeKneNWQUKqFWs809VoICeKneNWQUKqFWs809VoICeKneNWQUKqFWs809VoICeKneNWQX+BTpnoya3Vi7DAAAAAElFTkSuQmCC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TW" altLang="en-US"/>
          </a:p>
        </p:txBody>
      </p:sp>
      <p:pic>
        <p:nvPicPr>
          <p:cNvPr id="13321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248" y="2134098"/>
            <a:ext cx="3821975" cy="382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956086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圖片 2" descr="一張含有 文字 的圖片&#10;&#10;自動產生的描述">
            <a:extLst>
              <a:ext uri="{FF2B5EF4-FFF2-40B4-BE49-F238E27FC236}">
                <a16:creationId xmlns:a16="http://schemas.microsoft.com/office/drawing/2014/main" id="{F97447A1-2511-4B7E-A5C8-C1ADEC4B1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投影片編號版面配置區 3">
            <a:extLst>
              <a:ext uri="{FF2B5EF4-FFF2-40B4-BE49-F238E27FC236}">
                <a16:creationId xmlns:a16="http://schemas.microsoft.com/office/drawing/2014/main" id="{8EEADF09-21A9-4329-9724-45F98FB35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204D05-593E-44E6-8527-24A014F772AF}" type="slidenum">
              <a:rPr kumimoji="0" lang="zh-TW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5" name="標題 1">
            <a:extLst>
              <a:ext uri="{FF2B5EF4-FFF2-40B4-BE49-F238E27FC236}">
                <a16:creationId xmlns:a16="http://schemas.microsoft.com/office/drawing/2014/main" id="{30E9A99B-AAB3-4ABD-A779-4C70A9E639F6}"/>
              </a:ext>
            </a:extLst>
          </p:cNvPr>
          <p:cNvSpPr txBox="1">
            <a:spLocks/>
          </p:cNvSpPr>
          <p:nvPr/>
        </p:nvSpPr>
        <p:spPr>
          <a:xfrm>
            <a:off x="581192" y="702156"/>
            <a:ext cx="11029616" cy="74015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TW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BDD1375-A0A9-4DFD-BD8C-CEE0CDF86BE1}"/>
              </a:ext>
            </a:extLst>
          </p:cNvPr>
          <p:cNvSpPr/>
          <p:nvPr/>
        </p:nvSpPr>
        <p:spPr>
          <a:xfrm>
            <a:off x="4834089" y="1840448"/>
            <a:ext cx="7076408" cy="38148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TW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7" name="文字方塊 6">
            <a:extLst>
              <a:ext uri="{FF2B5EF4-FFF2-40B4-BE49-F238E27FC236}">
                <a16:creationId xmlns:a16="http://schemas.microsoft.com/office/drawing/2014/main" id="{89528D05-8ADF-45DC-A45E-E9ED9AB7C421}"/>
              </a:ext>
            </a:extLst>
          </p:cNvPr>
          <p:cNvSpPr txBox="1"/>
          <p:nvPr/>
        </p:nvSpPr>
        <p:spPr>
          <a:xfrm>
            <a:off x="4678291" y="2344557"/>
            <a:ext cx="7133193" cy="3267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685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拿大薩省公立學區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薩省最大天主教學區、薩省第三大學區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地理位置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: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拿大中部，位於薩克齊萬省薩斯卡通市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學校數：學區內共有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50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所學校，包含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43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所中小學、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685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7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685"/>
                </a:highligh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所高中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學生人數：超過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9,000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名學生，其中有約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2,400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名非英語系國家的國際學生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使命</a:t>
            </a: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: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 鼓勵學生學習、服務他人並使世界更美好</a:t>
            </a: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72031ED9-F9C8-459A-9583-E30A8B1FE9A9}"/>
              </a:ext>
            </a:extLst>
          </p:cNvPr>
          <p:cNvSpPr txBox="1"/>
          <p:nvPr/>
        </p:nvSpPr>
        <p:spPr>
          <a:xfrm>
            <a:off x="4742481" y="6052088"/>
            <a:ext cx="6868327" cy="669387"/>
          </a:xfrm>
          <a:prstGeom prst="rect">
            <a:avLst/>
          </a:prstGeom>
          <a:solidFill>
            <a:srgbClr val="006633"/>
          </a:solidFill>
        </p:spPr>
        <p:txBody>
          <a:bodyPr wrap="square" rtlCol="0">
            <a:spAutoFit/>
          </a:bodyPr>
          <a:lstStyle/>
          <a:p>
            <a:endParaRPr lang="zh-TW" altLang="en-US" dirty="0"/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29E3609D-7C2D-48BD-A797-76062CD69E1C}"/>
              </a:ext>
            </a:extLst>
          </p:cNvPr>
          <p:cNvSpPr/>
          <p:nvPr/>
        </p:nvSpPr>
        <p:spPr>
          <a:xfrm>
            <a:off x="3888419" y="5655302"/>
            <a:ext cx="8303581" cy="8589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9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78" name="Google Shape;278;p9"/>
          <p:cNvSpPr txBox="1">
            <a:spLocks noGrp="1"/>
          </p:cNvSpPr>
          <p:nvPr>
            <p:ph type="title"/>
          </p:nvPr>
        </p:nvSpPr>
        <p:spPr>
          <a:xfrm>
            <a:off x="4429455" y="2334985"/>
            <a:ext cx="6705600" cy="16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 fontScale="90000"/>
          </a:bodyPr>
          <a:lstStyle/>
          <a:p>
            <a:pPr marL="306000" lvl="0" indent="-306000">
              <a:spcBef>
                <a:spcPts val="1080"/>
              </a:spcBef>
              <a:buSzPts val="2208"/>
            </a:pPr>
            <a:r>
              <a:rPr lang="zh-TW" altLang="en-US" sz="54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臺加雙聯學制課程介紹</a:t>
            </a:r>
          </a:p>
        </p:txBody>
      </p:sp>
      <p:sp>
        <p:nvSpPr>
          <p:cNvPr id="8" name="文字方塊 7">
            <a:extLst>
              <a:ext uri="{FF2B5EF4-FFF2-40B4-BE49-F238E27FC236}">
                <a16:creationId xmlns:a16="http://schemas.microsoft.com/office/drawing/2014/main" id="{EA2B36B3-96F9-4E27-B1EB-90264FB56B68}"/>
              </a:ext>
            </a:extLst>
          </p:cNvPr>
          <p:cNvSpPr txBox="1"/>
          <p:nvPr/>
        </p:nvSpPr>
        <p:spPr>
          <a:xfrm>
            <a:off x="4429455" y="3651294"/>
            <a:ext cx="536940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Joint degree program</a:t>
            </a:r>
          </a:p>
        </p:txBody>
      </p:sp>
      <p:pic>
        <p:nvPicPr>
          <p:cNvPr id="5" name="圖片 4">
            <a:extLst>
              <a:ext uri="{FF2B5EF4-FFF2-40B4-BE49-F238E27FC236}">
                <a16:creationId xmlns:a16="http://schemas.microsoft.com/office/drawing/2014/main" id="{889841D9-C3C9-463E-AEDC-0E13102105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79166" y="2238735"/>
            <a:ext cx="2205037" cy="2205037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字方塊 5">
            <a:extLst>
              <a:ext uri="{FF2B5EF4-FFF2-40B4-BE49-F238E27FC236}">
                <a16:creationId xmlns:a16="http://schemas.microsoft.com/office/drawing/2014/main" id="{FD41AA68-A57B-4A31-9D29-1CC323FEA935}"/>
              </a:ext>
            </a:extLst>
          </p:cNvPr>
          <p:cNvSpPr txBox="1"/>
          <p:nvPr/>
        </p:nvSpPr>
        <p:spPr>
          <a:xfrm>
            <a:off x="2332256" y="2956532"/>
            <a:ext cx="47000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TW" sz="4400" dirty="0">
                <a:solidFill>
                  <a:prstClr val="white"/>
                </a:solidFill>
                <a:latin typeface="Calibri" panose="020F0502020204030204"/>
                <a:ea typeface="新細明體" panose="02020500000000000000" pitchFamily="18" charset="-120"/>
              </a:rPr>
              <a:t>2</a:t>
            </a:r>
            <a:endParaRPr kumimoji="0" lang="zh-TW" altLang="en-US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cxnSp>
        <p:nvCxnSpPr>
          <p:cNvPr id="7" name="Google Shape;114;p8">
            <a:extLst>
              <a:ext uri="{FF2B5EF4-FFF2-40B4-BE49-F238E27FC236}">
                <a16:creationId xmlns:a16="http://schemas.microsoft.com/office/drawing/2014/main" id="{BF7DDB74-A377-4B05-BCB7-0F386928D814}"/>
              </a:ext>
            </a:extLst>
          </p:cNvPr>
          <p:cNvCxnSpPr/>
          <p:nvPr/>
        </p:nvCxnSpPr>
        <p:spPr>
          <a:xfrm>
            <a:off x="4500212" y="4293960"/>
            <a:ext cx="1504950" cy="0"/>
          </a:xfrm>
          <a:prstGeom prst="straightConnector1">
            <a:avLst/>
          </a:prstGeom>
          <a:noFill/>
          <a:ln w="155575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3344112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Google Shape;202;p9"/>
          <p:cNvPicPr preferRelativeResize="0"/>
          <p:nvPr/>
        </p:nvPicPr>
        <p:blipFill rotWithShape="1">
          <a:blip r:embed="rId3">
            <a:alphaModFix/>
          </a:blip>
          <a:srcRect l="6364" t="729"/>
          <a:stretch/>
        </p:blipFill>
        <p:spPr>
          <a:xfrm>
            <a:off x="639365" y="50007"/>
            <a:ext cx="11415877" cy="6807993"/>
          </a:xfrm>
          <a:prstGeom prst="rect">
            <a:avLst/>
          </a:prstGeom>
          <a:noFill/>
          <a:ln>
            <a:noFill/>
          </a:ln>
        </p:spPr>
      </p:pic>
      <p:sp>
        <p:nvSpPr>
          <p:cNvPr id="203" name="Google Shape;203;p9"/>
          <p:cNvSpPr txBox="1"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200"/>
                <a:buFontTx/>
                <a:buNone/>
                <a:tabLst/>
                <a:defRPr/>
              </a:pPr>
              <a:t>7</a:t>
            </a:fld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6" name="Google Shape;206;p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16153" y="1880902"/>
            <a:ext cx="1461975" cy="7338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7" name="Google Shape;207;p9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16153" y="5499779"/>
            <a:ext cx="1310475" cy="873650"/>
          </a:xfrm>
          <a:prstGeom prst="rect">
            <a:avLst/>
          </a:prstGeom>
          <a:noFill/>
          <a:ln>
            <a:noFill/>
          </a:ln>
        </p:spPr>
      </p:pic>
      <p:sp>
        <p:nvSpPr>
          <p:cNvPr id="208" name="Google Shape;208;p9"/>
          <p:cNvSpPr/>
          <p:nvPr/>
        </p:nvSpPr>
        <p:spPr>
          <a:xfrm>
            <a:off x="9131357" y="4871004"/>
            <a:ext cx="1928529" cy="125765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9" name="Google Shape;209;p9"/>
          <p:cNvSpPr txBox="1"/>
          <p:nvPr/>
        </p:nvSpPr>
        <p:spPr>
          <a:xfrm>
            <a:off x="9343995" y="5038130"/>
            <a:ext cx="2606100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台灣高中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Microsoft JhengHei"/>
              <a:ea typeface="Microsoft JhengHei"/>
              <a:cs typeface="Microsoft JhengHei"/>
              <a:sym typeface="Microsoft JhengHe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畢業文憑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208;p9">
            <a:extLst>
              <a:ext uri="{FF2B5EF4-FFF2-40B4-BE49-F238E27FC236}">
                <a16:creationId xmlns:a16="http://schemas.microsoft.com/office/drawing/2014/main" id="{8EBBC82E-84EB-4E6E-A449-8B1E75D33ADA}"/>
              </a:ext>
            </a:extLst>
          </p:cNvPr>
          <p:cNvSpPr/>
          <p:nvPr/>
        </p:nvSpPr>
        <p:spPr>
          <a:xfrm>
            <a:off x="10641042" y="565266"/>
            <a:ext cx="1928529" cy="1716304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0" name="Google Shape;210;p9"/>
          <p:cNvSpPr txBox="1"/>
          <p:nvPr/>
        </p:nvSpPr>
        <p:spPr>
          <a:xfrm>
            <a:off x="9035871" y="729343"/>
            <a:ext cx="2119500" cy="92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加拿大薩省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Microsoft JhengHei"/>
              <a:ea typeface="Microsoft JhengHei"/>
              <a:cs typeface="Microsoft JhengHei"/>
              <a:sym typeface="Microsoft JhengHe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Microsoft JhengHei"/>
                <a:sym typeface="Microsoft JhengHei"/>
              </a:rPr>
              <a:t>高中畢業文憑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文字方塊 2">
            <a:extLst>
              <a:ext uri="{FF2B5EF4-FFF2-40B4-BE49-F238E27FC236}">
                <a16:creationId xmlns:a16="http://schemas.microsoft.com/office/drawing/2014/main" id="{D462D69F-8CE4-47EF-9759-8AADA2BF2596}"/>
              </a:ext>
            </a:extLst>
          </p:cNvPr>
          <p:cNvSpPr txBox="1"/>
          <p:nvPr/>
        </p:nvSpPr>
        <p:spPr>
          <a:xfrm>
            <a:off x="895640" y="3169404"/>
            <a:ext cx="146197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TW" alt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DC7E3EC1-6D33-4766-83F9-46D0D43ED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en-US" sz="900" b="0" i="0" u="none" strike="noStrike" kern="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764209FA-6A11-447E-A989-BDFE8CA9FB54}"/>
              </a:ext>
            </a:extLst>
          </p:cNvPr>
          <p:cNvSpPr/>
          <p:nvPr/>
        </p:nvSpPr>
        <p:spPr>
          <a:xfrm>
            <a:off x="8150225" y="1574800"/>
            <a:ext cx="3067050" cy="23653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新細明體" panose="02020500000000000000" pitchFamily="18" charset="-120"/>
              <a:cs typeface="+mn-cs"/>
              <a:sym typeface="Arial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F5A9D1EA-BBCE-4328-85E6-CB5D15937304}"/>
              </a:ext>
            </a:extLst>
          </p:cNvPr>
          <p:cNvSpPr/>
          <p:nvPr/>
        </p:nvSpPr>
        <p:spPr>
          <a:xfrm>
            <a:off x="6553200" y="4222750"/>
            <a:ext cx="3067050" cy="23669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新細明體" panose="02020500000000000000" pitchFamily="18" charset="-120"/>
              <a:cs typeface="+mn-cs"/>
              <a:sym typeface="Arial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F35A00C7-1E0D-4727-A35F-B7C031F40F3F}"/>
              </a:ext>
            </a:extLst>
          </p:cNvPr>
          <p:cNvSpPr/>
          <p:nvPr/>
        </p:nvSpPr>
        <p:spPr>
          <a:xfrm>
            <a:off x="4575175" y="1579563"/>
            <a:ext cx="3067050" cy="23669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新細明體" panose="02020500000000000000" pitchFamily="18" charset="-120"/>
              <a:cs typeface="+mn-cs"/>
              <a:sym typeface="Arial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50C5C2E2-CABC-4DF4-A1F6-539FEF9F5D67}"/>
              </a:ext>
            </a:extLst>
          </p:cNvPr>
          <p:cNvSpPr/>
          <p:nvPr/>
        </p:nvSpPr>
        <p:spPr>
          <a:xfrm>
            <a:off x="2720975" y="4214813"/>
            <a:ext cx="3067050" cy="2365375"/>
          </a:xfrm>
          <a:prstGeom prst="rect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新細明體" panose="02020500000000000000" pitchFamily="18" charset="-120"/>
              <a:cs typeface="+mn-cs"/>
              <a:sym typeface="Arial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BAE5F18F-3757-4445-804F-A5215D6BE944}"/>
              </a:ext>
            </a:extLst>
          </p:cNvPr>
          <p:cNvSpPr/>
          <p:nvPr/>
        </p:nvSpPr>
        <p:spPr>
          <a:xfrm>
            <a:off x="1071563" y="1574800"/>
            <a:ext cx="3067050" cy="2365375"/>
          </a:xfrm>
          <a:prstGeom prst="rect">
            <a:avLst/>
          </a:prstGeom>
          <a:solidFill>
            <a:srgbClr val="006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新細明體" panose="02020500000000000000" pitchFamily="18" charset="-120"/>
              <a:cs typeface="+mn-cs"/>
              <a:sym typeface="Arial"/>
            </a:endParaRPr>
          </a:p>
        </p:txBody>
      </p:sp>
      <p:sp>
        <p:nvSpPr>
          <p:cNvPr id="11" name="文字方塊 8">
            <a:extLst>
              <a:ext uri="{FF2B5EF4-FFF2-40B4-BE49-F238E27FC236}">
                <a16:creationId xmlns:a16="http://schemas.microsoft.com/office/drawing/2014/main" id="{37D28613-7D69-4F9B-A882-29CA5C9471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68787" y="5196622"/>
            <a:ext cx="2646363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豐富學習歷程檔案</a:t>
            </a:r>
            <a:endParaRPr kumimoji="0" lang="en-US" altLang="zh-TW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英語證照</a:t>
            </a:r>
            <a:endParaRPr kumimoji="0" lang="en-US" altLang="zh-TW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相關競賽與活動</a:t>
            </a:r>
            <a:endParaRPr kumimoji="0" lang="en-US" altLang="zh-TW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12" name="文字方塊 9">
            <a:extLst>
              <a:ext uri="{FF2B5EF4-FFF2-40B4-BE49-F238E27FC236}">
                <a16:creationId xmlns:a16="http://schemas.microsoft.com/office/drawing/2014/main" id="{2601CFA0-E472-48B7-A893-FA56EA4D8A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3625" y="2830513"/>
            <a:ext cx="2030413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英語能力目標</a:t>
            </a:r>
            <a:endParaRPr kumimoji="0" lang="en-US" altLang="zh-TW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雅思考達</a:t>
            </a:r>
            <a:r>
              <a:rPr kumimoji="0" lang="en-US" altLang="zh-TW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6.5</a:t>
            </a:r>
          </a:p>
        </p:txBody>
      </p:sp>
      <p:sp>
        <p:nvSpPr>
          <p:cNvPr id="13" name="文字方塊 10">
            <a:extLst>
              <a:ext uri="{FF2B5EF4-FFF2-40B4-BE49-F238E27FC236}">
                <a16:creationId xmlns:a16="http://schemas.microsoft.com/office/drawing/2014/main" id="{48ECE544-08A4-4243-B5C1-71B25818C7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34225" y="5681663"/>
            <a:ext cx="203200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雙語師資培育</a:t>
            </a:r>
            <a:endParaRPr kumimoji="0" lang="en-US" altLang="zh-TW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pic>
        <p:nvPicPr>
          <p:cNvPr id="14" name="圖形 18" descr="教師 外框">
            <a:extLst>
              <a:ext uri="{FF2B5EF4-FFF2-40B4-BE49-F238E27FC236}">
                <a16:creationId xmlns:a16="http://schemas.microsoft.com/office/drawing/2014/main" id="{A983CA45-8126-444F-A2C0-AA2A2AAB66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525" y="4610100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圖形 20" descr="文憑 外框">
            <a:extLst>
              <a:ext uri="{FF2B5EF4-FFF2-40B4-BE49-F238E27FC236}">
                <a16:creationId xmlns:a16="http://schemas.microsoft.com/office/drawing/2014/main" id="{C34FDAA1-B2CE-4CF3-B988-E769EC01F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2862" y="4326672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文字方塊 26">
            <a:extLst>
              <a:ext uri="{FF2B5EF4-FFF2-40B4-BE49-F238E27FC236}">
                <a16:creationId xmlns:a16="http://schemas.microsoft.com/office/drawing/2014/main" id="{893A4B22-D4CF-4D48-8F3C-FFED13D4BD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3363" y="1963738"/>
            <a:ext cx="136608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altLang="zh-TW" sz="3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IELTS</a:t>
            </a:r>
            <a:endParaRPr kumimoji="0" lang="zh-TW" altLang="en-US" sz="3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sp>
        <p:nvSpPr>
          <p:cNvPr id="19" name="標題 2">
            <a:extLst>
              <a:ext uri="{FF2B5EF4-FFF2-40B4-BE49-F238E27FC236}">
                <a16:creationId xmlns:a16="http://schemas.microsoft.com/office/drawing/2014/main" id="{74A87014-6A61-4E58-89B3-FD9463F06328}"/>
              </a:ext>
            </a:extLst>
          </p:cNvPr>
          <p:cNvSpPr txBox="1">
            <a:spLocks/>
          </p:cNvSpPr>
          <p:nvPr/>
        </p:nvSpPr>
        <p:spPr>
          <a:xfrm>
            <a:off x="1742066" y="627476"/>
            <a:ext cx="11029616" cy="74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zh-TW" alt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006633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雙聯學制課程優勢</a:t>
            </a:r>
          </a:p>
        </p:txBody>
      </p:sp>
      <p:cxnSp>
        <p:nvCxnSpPr>
          <p:cNvPr id="20" name="Google Shape;114;p8">
            <a:extLst>
              <a:ext uri="{FF2B5EF4-FFF2-40B4-BE49-F238E27FC236}">
                <a16:creationId xmlns:a16="http://schemas.microsoft.com/office/drawing/2014/main" id="{F50FCBE5-E5B0-45A3-99B3-CE1F20545728}"/>
              </a:ext>
            </a:extLst>
          </p:cNvPr>
          <p:cNvCxnSpPr/>
          <p:nvPr/>
        </p:nvCxnSpPr>
        <p:spPr>
          <a:xfrm>
            <a:off x="0" y="968375"/>
            <a:ext cx="1504950" cy="0"/>
          </a:xfrm>
          <a:prstGeom prst="straightConnector1">
            <a:avLst/>
          </a:prstGeom>
          <a:noFill/>
          <a:ln w="155575" cap="flat" cmpd="sng">
            <a:solidFill>
              <a:srgbClr val="00663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" name="文字方塊 6">
            <a:extLst>
              <a:ext uri="{FF2B5EF4-FFF2-40B4-BE49-F238E27FC236}">
                <a16:creationId xmlns:a16="http://schemas.microsoft.com/office/drawing/2014/main" id="{CEAC48B9-6DA2-4E31-9F5F-61D415E7DC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54860" y="2718594"/>
            <a:ext cx="233910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zh-TW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同時取得</a:t>
            </a: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雙文憑</a:t>
            </a:r>
            <a:endParaRPr kumimoji="0" lang="en-US" altLang="zh-TW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升學榜單更多元</a:t>
            </a:r>
          </a:p>
        </p:txBody>
      </p:sp>
      <p:pic>
        <p:nvPicPr>
          <p:cNvPr id="22" name="圖形 22" descr="畢業帽 外框">
            <a:extLst>
              <a:ext uri="{FF2B5EF4-FFF2-40B4-BE49-F238E27FC236}">
                <a16:creationId xmlns:a16="http://schemas.microsoft.com/office/drawing/2014/main" id="{BCFF3C1B-DEE4-4C2B-AA5A-891F6AA03E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8317" y="1762919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文字方塊 7">
            <a:extLst>
              <a:ext uri="{FF2B5EF4-FFF2-40B4-BE49-F238E27FC236}">
                <a16:creationId xmlns:a16="http://schemas.microsoft.com/office/drawing/2014/main" id="{B0457C1B-1712-41BC-9B21-2E28B2FE48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6449" y="2782002"/>
            <a:ext cx="233910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加拿大高中課程</a:t>
            </a:r>
            <a:endParaRPr kumimoji="0" lang="en-US" altLang="zh-TW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全英語授課</a:t>
            </a:r>
            <a:endParaRPr kumimoji="0" lang="en-US" altLang="zh-TW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pic>
        <p:nvPicPr>
          <p:cNvPr id="24" name="圖形 24" descr="闔上的書 外框">
            <a:extLst>
              <a:ext uri="{FF2B5EF4-FFF2-40B4-BE49-F238E27FC236}">
                <a16:creationId xmlns:a16="http://schemas.microsoft.com/office/drawing/2014/main" id="{872019BA-2CBE-4DCD-A4E8-4EF7A584F2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1843912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545259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>
            <a:extLst>
              <a:ext uri="{FF2B5EF4-FFF2-40B4-BE49-F238E27FC236}">
                <a16:creationId xmlns:a16="http://schemas.microsoft.com/office/drawing/2014/main" id="{A4CAD2A9-0CA1-43BE-9519-2E1514F98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96BAFE-4D11-4261-BA5E-985C75D6195D}" type="slidenum">
              <a:rPr kumimoji="0" lang="zh-TW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TW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26DA6E0-27D6-4CF8-A25F-418D9B24A7A4}"/>
              </a:ext>
            </a:extLst>
          </p:cNvPr>
          <p:cNvSpPr/>
          <p:nvPr/>
        </p:nvSpPr>
        <p:spPr>
          <a:xfrm>
            <a:off x="1153126" y="537578"/>
            <a:ext cx="3358696" cy="2770868"/>
          </a:xfrm>
          <a:prstGeom prst="rect">
            <a:avLst/>
          </a:prstGeom>
          <a:solidFill>
            <a:srgbClr val="8AB833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zh-TW" alt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新細明體" panose="02020500000000000000" pitchFamily="18" charset="-120"/>
              <a:cs typeface="+mn-cs"/>
              <a:sym typeface="Arial"/>
            </a:endParaRPr>
          </a:p>
        </p:txBody>
      </p:sp>
      <p:sp>
        <p:nvSpPr>
          <p:cNvPr id="7" name="文字方塊 7">
            <a:extLst>
              <a:ext uri="{FF2B5EF4-FFF2-40B4-BE49-F238E27FC236}">
                <a16:creationId xmlns:a16="http://schemas.microsoft.com/office/drawing/2014/main" id="{26C2BE00-6CFF-45B0-899E-4EDDFF81E8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6511" y="2161779"/>
            <a:ext cx="1980029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每周</a:t>
            </a:r>
            <a:r>
              <a:rPr kumimoji="0" lang="en-US" altLang="zh-TW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7</a:t>
            </a:r>
            <a:r>
              <a:rPr kumimoji="0" lang="zh-TW" alt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節</a:t>
            </a:r>
            <a:endParaRPr kumimoji="0" lang="en-US" altLang="zh-TW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zh-TW" alt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Arial"/>
                <a:sym typeface="Arial"/>
              </a:rPr>
              <a:t>全英語授課</a:t>
            </a:r>
            <a:endParaRPr kumimoji="0" lang="en-US" altLang="zh-TW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Arial"/>
              <a:sym typeface="Arial"/>
            </a:endParaRPr>
          </a:p>
        </p:txBody>
      </p:sp>
      <p:pic>
        <p:nvPicPr>
          <p:cNvPr id="8" name="圖形 24" descr="闔上的書 外框">
            <a:extLst>
              <a:ext uri="{FF2B5EF4-FFF2-40B4-BE49-F238E27FC236}">
                <a16:creationId xmlns:a16="http://schemas.microsoft.com/office/drawing/2014/main" id="{655FEDC2-15BD-4EB5-AD99-0863BDD829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013" y="948614"/>
            <a:ext cx="1071027" cy="1071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EDE3CAAA-4563-4F6C-B177-800C6D39B7CA}"/>
              </a:ext>
            </a:extLst>
          </p:cNvPr>
          <p:cNvSpPr txBox="1"/>
          <p:nvPr/>
        </p:nvSpPr>
        <p:spPr>
          <a:xfrm>
            <a:off x="5751692" y="538248"/>
            <a:ext cx="5516313" cy="499277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3"/>
              </a:buBlip>
              <a:tabLst/>
              <a:defRPr/>
            </a:pPr>
            <a:r>
              <a:rPr kumimoji="0" lang="zh-TW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拿大高一英語 </a:t>
            </a:r>
            <a:r>
              <a:rPr kumimoji="0" lang="en-US" altLang="zh-TW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10 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課程練習學術寫作訓練與反思，解析詩詞、短文、小說與劇作。利用單元式引導英語運用思維。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3"/>
              </a:buBlip>
              <a:tabLst/>
              <a:defRPr/>
            </a:pPr>
            <a:r>
              <a:rPr kumimoji="0" lang="zh-TW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拿大高二英語 </a:t>
            </a:r>
            <a:r>
              <a:rPr kumimoji="0" lang="en-US" altLang="zh-TW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20 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課程建立解析、聽力、閱讀能力，透過實作穩固學術英語技巧。</a:t>
            </a:r>
            <a:endParaRPr kumimoji="0" lang="en-US" altLang="zh-TW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3"/>
              </a:buBlip>
              <a:tabLst/>
              <a:defRPr/>
            </a:pPr>
            <a:r>
              <a:rPr kumimoji="0" lang="zh-TW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加拿大高三英語 </a:t>
            </a:r>
            <a:r>
              <a:rPr kumimoji="0" lang="en-US" altLang="zh-TW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30 </a:t>
            </a: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課程導入更廣博的領域，目標建立全球化社會責任，並能自信使用英語，透過各種主題累積鍛鍊，令學生具備深度賞析能力。</a:t>
            </a: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3"/>
              </a:buBlip>
              <a:tabLst/>
              <a:defRPr/>
            </a:pPr>
            <a:r>
              <a:rPr kumimoji="0" lang="zh-TW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雙聯學制修課科目尚有：</a:t>
            </a:r>
            <a:r>
              <a:rPr kumimoji="0" lang="zh-TW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社會、數學、物理等。</a:t>
            </a:r>
          </a:p>
        </p:txBody>
      </p:sp>
      <p:sp>
        <p:nvSpPr>
          <p:cNvPr id="12" name="文字方塊 11">
            <a:extLst>
              <a:ext uri="{FF2B5EF4-FFF2-40B4-BE49-F238E27FC236}">
                <a16:creationId xmlns:a16="http://schemas.microsoft.com/office/drawing/2014/main" id="{01A2AAE3-A81F-465A-893E-07C059FACB44}"/>
              </a:ext>
            </a:extLst>
          </p:cNvPr>
          <p:cNvSpPr txBox="1"/>
          <p:nvPr/>
        </p:nvSpPr>
        <p:spPr>
          <a:xfrm>
            <a:off x="861955" y="3719482"/>
            <a:ext cx="4776086" cy="1882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3"/>
              </a:buBlip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每年多出約 </a:t>
            </a:r>
            <a:r>
              <a:rPr lang="en-US" altLang="zh-TW" sz="2000" b="1" dirty="0">
                <a:solidFill>
                  <a:prstClr val="black"/>
                </a:solidFill>
                <a:highlight>
                  <a:srgbClr val="FFF364"/>
                </a:highlight>
                <a:latin typeface="Microsoft JhengHei"/>
                <a:ea typeface="Microsoft JhengHei"/>
              </a:rPr>
              <a:t>220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+mn-cs"/>
              </a:rPr>
              <a:t>小時 的學術英語時數</a:t>
            </a:r>
            <a:endParaRPr kumimoji="0" lang="en-US" altLang="zh-TW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364"/>
              </a:highlight>
              <a:uLnTx/>
              <a:uFillTx/>
              <a:latin typeface="Microsoft JhengHei"/>
              <a:ea typeface="Microsoft JhengHei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3"/>
              </a:buBlip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+mn-cs"/>
              </a:rPr>
              <a:t>全英文授課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與加拿大課綱將帶來多元  角度學習經驗</a:t>
            </a:r>
            <a:endParaRPr kumimoji="0" lang="en-US" altLang="zh-TW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50000"/>
              <a:buFontTx/>
              <a:buBlip>
                <a:blip r:embed="rId3"/>
              </a:buBlip>
              <a:tabLst/>
              <a:defRPr/>
            </a:pP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364"/>
                </a:highlight>
                <a:uLnTx/>
                <a:uFillTx/>
                <a:latin typeface="Microsoft JhengHei"/>
                <a:ea typeface="Microsoft JhengHei"/>
                <a:cs typeface="+mn-cs"/>
              </a:rPr>
              <a:t>素養導向</a:t>
            </a:r>
            <a:r>
              <a:rPr kumimoji="0" lang="zh-TW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軟正黑體" panose="020B0604030504040204" pitchFamily="34" charset="-120"/>
                <a:ea typeface="微軟正黑體" panose="020B0604030504040204" pitchFamily="34" charset="-120"/>
                <a:cs typeface="+mn-cs"/>
              </a:rPr>
              <a:t>學習</a:t>
            </a:r>
            <a:endParaRPr kumimoji="0" lang="en-US" altLang="zh-TW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軟正黑體" panose="020B0604030504040204" pitchFamily="34" charset="-120"/>
              <a:ea typeface="微軟正黑體" panose="020B0604030504040204" pitchFamily="34" charset="-120"/>
              <a:cs typeface="+mn-cs"/>
            </a:endParaRPr>
          </a:p>
        </p:txBody>
      </p:sp>
      <p:sp>
        <p:nvSpPr>
          <p:cNvPr id="4" name="文字方塊 3">
            <a:extLst>
              <a:ext uri="{FF2B5EF4-FFF2-40B4-BE49-F238E27FC236}">
                <a16:creationId xmlns:a16="http://schemas.microsoft.com/office/drawing/2014/main" id="{253E8921-3BB7-4905-8011-FC25B46A6FD4}"/>
              </a:ext>
            </a:extLst>
          </p:cNvPr>
          <p:cNvSpPr txBox="1"/>
          <p:nvPr/>
        </p:nvSpPr>
        <p:spPr>
          <a:xfrm>
            <a:off x="838200" y="6012956"/>
            <a:ext cx="42242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*</a:t>
            </a:r>
            <a:r>
              <a:rPr lang="zh-TW" altLang="en-US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每周上課時數</a:t>
            </a:r>
            <a:r>
              <a:rPr lang="zh-TW" altLang="en-US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可依學校需求客製化安排</a:t>
            </a:r>
          </a:p>
        </p:txBody>
      </p:sp>
    </p:spTree>
    <p:extLst>
      <p:ext uri="{BB962C8B-B14F-4D97-AF65-F5344CB8AC3E}">
        <p14:creationId xmlns:p14="http://schemas.microsoft.com/office/powerpoint/2010/main" val="9858960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70999999999999996447E+00&quot;&gt;&lt;m_msothmcolidx val=&quot;0&quot;/&gt;&lt;m_rgb r=&quot;FD&quot; g=&quot;D9&quot; b=&quot;DE&quot;/&gt;&lt;m_nBrightness endver=&quot;26206&quot; val=&quot;0&quot;/&gt;&lt;/elem&gt;&lt;elem m_fUsage=&quot;7.29000000000000092371E-01&quot;&gt;&lt;m_msothmcolidx val=&quot;0&quot;/&gt;&lt;m_rgb r=&quot;FC&quot; g=&quot;C9&quot; b=&quot;D7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絲縷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2.xml><?xml version="1.0" encoding="utf-8"?>
<a:theme xmlns:a="http://schemas.openxmlformats.org/drawingml/2006/main" name="Vega - Free">
  <a:themeElements>
    <a:clrScheme name="A">
      <a:dk1>
        <a:srgbClr val="1C1C1C"/>
      </a:dk1>
      <a:lt1>
        <a:sysClr val="window" lastClr="FFFFFF"/>
      </a:lt1>
      <a:dk2>
        <a:srgbClr val="545454"/>
      </a:dk2>
      <a:lt2>
        <a:srgbClr val="EEECE1"/>
      </a:lt2>
      <a:accent1>
        <a:srgbClr val="00ACE2"/>
      </a:accent1>
      <a:accent2>
        <a:srgbClr val="FD497C"/>
      </a:accent2>
      <a:accent3>
        <a:srgbClr val="87C32F"/>
      </a:accent3>
      <a:accent4>
        <a:srgbClr val="B143DD"/>
      </a:accent4>
      <a:accent5>
        <a:srgbClr val="FFA513"/>
      </a:accent5>
      <a:accent6>
        <a:srgbClr val="5BB8D1"/>
      </a:accent6>
      <a:hlink>
        <a:srgbClr val="00ACE2"/>
      </a:hlink>
      <a:folHlink>
        <a:srgbClr val="00ACE2"/>
      </a:folHlink>
    </a:clrScheme>
    <a:fontScheme name="Vega">
      <a:majorFont>
        <a:latin typeface="Route 159 UltraLight"/>
        <a:ea typeface="Spica Neue Light"/>
        <a:cs typeface=""/>
      </a:majorFont>
      <a:minorFont>
        <a:latin typeface="Open Sans"/>
        <a:ea typeface="Spica Neue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DividendVTI">
  <a:themeElements>
    <a:clrScheme name="綠色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絲縷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ppt/theme/theme7.xml><?xml version="1.0" encoding="utf-8"?>
<a:theme xmlns:a="http://schemas.openxmlformats.org/drawingml/2006/main" name="Office Theme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文件" ma:contentTypeID="0x010100910BCB696B83A7449094CC0A16FC15C6" ma:contentTypeVersion="12" ma:contentTypeDescription="建立新的文件。" ma:contentTypeScope="" ma:versionID="8733d362338448cb2b7b02786fe3f166">
  <xsd:schema xmlns:xsd="http://www.w3.org/2001/XMLSchema" xmlns:xs="http://www.w3.org/2001/XMLSchema" xmlns:p="http://schemas.microsoft.com/office/2006/metadata/properties" xmlns:ns3="27372025-0574-46e8-addd-a1da370ccb3a" xmlns:ns4="08e68200-0565-4664-9fdf-dc2f19d1e179" targetNamespace="http://schemas.microsoft.com/office/2006/metadata/properties" ma:root="true" ma:fieldsID="49b7c223bff6e9fd24c91f3314129050" ns3:_="" ns4:_="">
    <xsd:import namespace="27372025-0574-46e8-addd-a1da370ccb3a"/>
    <xsd:import namespace="08e68200-0565-4664-9fdf-dc2f19d1e17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372025-0574-46e8-addd-a1da370ccb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e68200-0565-4664-9fdf-dc2f19d1e17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共用對象: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共用詳細資料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共用提示雜湊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內容類型"/>
        <xsd:element ref="dc:title" minOccurs="0" maxOccurs="1" ma:index="4" ma:displayName="標題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8DED9C2-9CBA-4E41-9751-6999D669952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F6BA6C0-57F8-4817-9319-88AF715A2A09}">
  <ds:schemaRefs>
    <ds:schemaRef ds:uri="http://purl.org/dc/terms/"/>
    <ds:schemaRef ds:uri="08e68200-0565-4664-9fdf-dc2f19d1e179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7372025-0574-46e8-addd-a1da370ccb3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54F7B56-808E-4A2B-8F43-1E7B31DE87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372025-0574-46e8-addd-a1da370ccb3a"/>
    <ds:schemaRef ds:uri="08e68200-0565-4664-9fdf-dc2f19d1e17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12</TotalTime>
  <Words>1665</Words>
  <Application>Microsoft Office PowerPoint</Application>
  <PresentationFormat>寬螢幕</PresentationFormat>
  <Paragraphs>466</Paragraphs>
  <Slides>48</Slides>
  <Notes>14</Notes>
  <HiddenSlides>0</HiddenSlides>
  <MMClips>0</MMClips>
  <ScaleCrop>false</ScaleCrop>
  <HeadingPairs>
    <vt:vector size="8" baseType="variant">
      <vt:variant>
        <vt:lpstr>使用字型</vt:lpstr>
      </vt:variant>
      <vt:variant>
        <vt:i4>17</vt:i4>
      </vt:variant>
      <vt:variant>
        <vt:lpstr>佈景主題</vt:lpstr>
      </vt:variant>
      <vt:variant>
        <vt:i4>7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48</vt:i4>
      </vt:variant>
    </vt:vector>
  </HeadingPairs>
  <TitlesOfParts>
    <vt:vector size="73" baseType="lpstr">
      <vt:lpstr>Malgun Gothic</vt:lpstr>
      <vt:lpstr>微軟正黑體</vt:lpstr>
      <vt:lpstr>微軟正黑體</vt:lpstr>
      <vt:lpstr>Noto Sans Symbols</vt:lpstr>
      <vt:lpstr>Route 159 Bold</vt:lpstr>
      <vt:lpstr>Route 159 Light</vt:lpstr>
      <vt:lpstr>Route 159 SemiBold</vt:lpstr>
      <vt:lpstr>Route 159 UltraLight</vt:lpstr>
      <vt:lpstr>Aharoni</vt:lpstr>
      <vt:lpstr>Arial</vt:lpstr>
      <vt:lpstr>Calibri</vt:lpstr>
      <vt:lpstr>Calibri Light</vt:lpstr>
      <vt:lpstr>Garamond</vt:lpstr>
      <vt:lpstr>Open Sans</vt:lpstr>
      <vt:lpstr>Open Sans Light</vt:lpstr>
      <vt:lpstr>Open Sans Semibold</vt:lpstr>
      <vt:lpstr>Wingdings 3</vt:lpstr>
      <vt:lpstr>絲縷</vt:lpstr>
      <vt:lpstr>Vega - Free</vt:lpstr>
      <vt:lpstr>DividendVTI</vt:lpstr>
      <vt:lpstr>2_Office 佈景主題</vt:lpstr>
      <vt:lpstr>3_Office 佈景主題</vt:lpstr>
      <vt:lpstr>3_絲縷</vt:lpstr>
      <vt:lpstr>Office Theme</vt:lpstr>
      <vt:lpstr>think-cell Slide</vt:lpstr>
      <vt:lpstr>PowerPoint 簡報</vt:lpstr>
      <vt:lpstr>PowerPoint 簡報</vt:lpstr>
      <vt:lpstr>報告大綱</vt:lpstr>
      <vt:lpstr>學區介紹</vt:lpstr>
      <vt:lpstr>PowerPoint 簡報</vt:lpstr>
      <vt:lpstr>臺加雙聯學制課程介紹</vt:lpstr>
      <vt:lpstr>PowerPoint 簡報</vt:lpstr>
      <vt:lpstr>PowerPoint 簡報</vt:lpstr>
      <vt:lpstr>PowerPoint 簡報</vt:lpstr>
      <vt:lpstr>學生英語能力提升</vt:lpstr>
      <vt:lpstr>PowerPoint 簡報</vt:lpstr>
      <vt:lpstr>PowerPoint 簡報</vt:lpstr>
      <vt:lpstr>PowerPoint 簡報</vt:lpstr>
      <vt:lpstr>PowerPoint 簡報</vt:lpstr>
      <vt:lpstr>臺加雙聯學習課程 8科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課程實錄</vt:lpstr>
      <vt:lpstr>課程實錄</vt:lpstr>
      <vt:lpstr>課程實錄</vt:lpstr>
      <vt:lpstr>學分轉換與採認</vt:lpstr>
      <vt:lpstr>PowerPoint 簡報</vt:lpstr>
      <vt:lpstr>PowerPoint 簡報</vt:lpstr>
      <vt:lpstr>上課時間</vt:lpstr>
      <vt:lpstr>周六全天實體課程</vt:lpstr>
      <vt:lpstr>PowerPoint 簡報</vt:lpstr>
      <vt:lpstr>課表時間規劃(周六全天實體課程)</vt:lpstr>
      <vt:lpstr>加拿大薩省-線上課程教師團隊</vt:lpstr>
      <vt:lpstr>費用</vt:lpstr>
      <vt:lpstr>PowerPoint 簡報</vt:lpstr>
      <vt:lpstr>PowerPoint 簡報</vt:lpstr>
      <vt:lpstr>Q &amp; A</vt:lpstr>
      <vt:lpstr>PowerPoint 簡報</vt:lpstr>
      <vt:lpstr>簡報電子檔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加拿大學校</dc:title>
  <dc:creator>Carol Chien</dc:creator>
  <cp:lastModifiedBy>瑄文 李</cp:lastModifiedBy>
  <cp:revision>173</cp:revision>
  <dcterms:created xsi:type="dcterms:W3CDTF">2021-01-10T09:06:08Z</dcterms:created>
  <dcterms:modified xsi:type="dcterms:W3CDTF">2021-12-24T04:28:36Z</dcterms:modified>
</cp:coreProperties>
</file>